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2" r:id="rId2"/>
  </p:sldMasterIdLst>
  <p:notesMasterIdLst>
    <p:notesMasterId r:id="rId6"/>
  </p:notesMasterIdLst>
  <p:sldIdLst>
    <p:sldId id="478" r:id="rId3"/>
    <p:sldId id="359" r:id="rId4"/>
    <p:sldId id="360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D3C2"/>
    <a:srgbClr val="9CD3C4"/>
    <a:srgbClr val="98D2BF"/>
    <a:srgbClr val="E6F4ED"/>
    <a:srgbClr val="A2D6BE"/>
    <a:srgbClr val="8FCDB1"/>
    <a:srgbClr val="439771"/>
    <a:srgbClr val="49A57B"/>
    <a:srgbClr val="8BCBAE"/>
    <a:srgbClr val="CADC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05E12D-E5AD-4CCD-BCE0-AE0E8523EA91}" v="214" dt="2022-11-10T16:17:14.595"/>
    <p1510:client id="{6F907AAC-D930-4567-876C-DBA2AD137AE7}" v="9" dt="2022-11-02T14:51:54.9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6912" autoAdjust="0"/>
    <p:restoredTop sz="94249" autoAdjust="0"/>
  </p:normalViewPr>
  <p:slideViewPr>
    <p:cSldViewPr snapToGrid="0">
      <p:cViewPr varScale="1">
        <p:scale>
          <a:sx n="102" d="100"/>
          <a:sy n="102" d="100"/>
        </p:scale>
        <p:origin x="762" y="96"/>
      </p:cViewPr>
      <p:guideLst/>
    </p:cSldViewPr>
  </p:slideViewPr>
  <p:outlineViewPr>
    <p:cViewPr>
      <p:scale>
        <a:sx n="33" d="100"/>
        <a:sy n="33" d="100"/>
      </p:scale>
      <p:origin x="0" y="-3641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mi Khoury" userId="S::rami@auxi.ai::71bbf9ab-5347-4116-ad90-41b06fea083e" providerId="AD" clId="Web-{0F05E12D-E5AD-4CCD-BCE0-AE0E8523EA91}"/>
    <pc:docChg chg="addSld delSld modSld modSection">
      <pc:chgData name="Rami Khoury" userId="S::rami@auxi.ai::71bbf9ab-5347-4116-ad90-41b06fea083e" providerId="AD" clId="Web-{0F05E12D-E5AD-4CCD-BCE0-AE0E8523EA91}" dt="2022-11-10T16:17:14.314" v="197" actId="20577"/>
      <pc:docMkLst>
        <pc:docMk/>
      </pc:docMkLst>
      <pc:sldChg chg="addSp modSp">
        <pc:chgData name="Rami Khoury" userId="S::rami@auxi.ai::71bbf9ab-5347-4116-ad90-41b06fea083e" providerId="AD" clId="Web-{0F05E12D-E5AD-4CCD-BCE0-AE0E8523EA91}" dt="2022-11-10T16:12:19.730" v="12" actId="20577"/>
        <pc:sldMkLst>
          <pc:docMk/>
          <pc:sldMk cId="2001438181" sldId="414"/>
        </pc:sldMkLst>
        <pc:spChg chg="add mod">
          <ac:chgData name="Rami Khoury" userId="S::rami@auxi.ai::71bbf9ab-5347-4116-ad90-41b06fea083e" providerId="AD" clId="Web-{0F05E12D-E5AD-4CCD-BCE0-AE0E8523EA91}" dt="2022-11-10T16:12:19.730" v="12" actId="20577"/>
          <ac:spMkLst>
            <pc:docMk/>
            <pc:sldMk cId="2001438181" sldId="414"/>
            <ac:spMk id="3" creationId="{CC062EAB-C249-7060-E30B-C19AC4862F82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3:13.481" v="22" actId="1076"/>
        <pc:sldMkLst>
          <pc:docMk/>
          <pc:sldMk cId="3992836934" sldId="416"/>
        </pc:sldMkLst>
        <pc:spChg chg="add mod">
          <ac:chgData name="Rami Khoury" userId="S::rami@auxi.ai::71bbf9ab-5347-4116-ad90-41b06fea083e" providerId="AD" clId="Web-{0F05E12D-E5AD-4CCD-BCE0-AE0E8523EA91}" dt="2022-11-10T16:13:13.481" v="22" actId="1076"/>
          <ac:spMkLst>
            <pc:docMk/>
            <pc:sldMk cId="3992836934" sldId="416"/>
            <ac:spMk id="3" creationId="{2E336C8A-9CEB-6D6A-7908-B25424C6F4E9}"/>
          </ac:spMkLst>
        </pc:spChg>
      </pc:sldChg>
      <pc:sldChg chg="addSp delSp modSp add del">
        <pc:chgData name="Rami Khoury" userId="S::rami@auxi.ai::71bbf9ab-5347-4116-ad90-41b06fea083e" providerId="AD" clId="Web-{0F05E12D-E5AD-4CCD-BCE0-AE0E8523EA91}" dt="2022-11-10T16:13:39.825" v="43" actId="20577"/>
        <pc:sldMkLst>
          <pc:docMk/>
          <pc:sldMk cId="3140112688" sldId="417"/>
        </pc:sldMkLst>
        <pc:spChg chg="add del mod">
          <ac:chgData name="Rami Khoury" userId="S::rami@auxi.ai::71bbf9ab-5347-4116-ad90-41b06fea083e" providerId="AD" clId="Web-{0F05E12D-E5AD-4CCD-BCE0-AE0E8523EA91}" dt="2022-11-10T16:13:18.262" v="26"/>
          <ac:spMkLst>
            <pc:docMk/>
            <pc:sldMk cId="3140112688" sldId="417"/>
            <ac:spMk id="3" creationId="{80B8F26D-0BE7-EDE6-7E62-3034B9E41D86}"/>
          </ac:spMkLst>
        </pc:spChg>
        <pc:spChg chg="add del mod">
          <ac:chgData name="Rami Khoury" userId="S::rami@auxi.ai::71bbf9ab-5347-4116-ad90-41b06fea083e" providerId="AD" clId="Web-{0F05E12D-E5AD-4CCD-BCE0-AE0E8523EA91}" dt="2022-11-10T16:13:34.247" v="31"/>
          <ac:spMkLst>
            <pc:docMk/>
            <pc:sldMk cId="3140112688" sldId="417"/>
            <ac:spMk id="4" creationId="{003CDC4E-FA54-8E28-DEE4-F6013A5F0413}"/>
          </ac:spMkLst>
        </pc:spChg>
        <pc:spChg chg="add mod">
          <ac:chgData name="Rami Khoury" userId="S::rami@auxi.ai::71bbf9ab-5347-4116-ad90-41b06fea083e" providerId="AD" clId="Web-{0F05E12D-E5AD-4CCD-BCE0-AE0E8523EA91}" dt="2022-11-10T16:13:39.825" v="43" actId="20577"/>
          <ac:spMkLst>
            <pc:docMk/>
            <pc:sldMk cId="3140112688" sldId="417"/>
            <ac:spMk id="7" creationId="{DFA4F06A-320F-144A-39C8-0A7EFF682458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26.045" v="109" actId="20577"/>
        <pc:sldMkLst>
          <pc:docMk/>
          <pc:sldMk cId="2730051296" sldId="419"/>
        </pc:sldMkLst>
        <pc:spChg chg="add mod">
          <ac:chgData name="Rami Khoury" userId="S::rami@auxi.ai::71bbf9ab-5347-4116-ad90-41b06fea083e" providerId="AD" clId="Web-{0F05E12D-E5AD-4CCD-BCE0-AE0E8523EA91}" dt="2022-11-10T16:14:26.045" v="109" actId="20577"/>
          <ac:spMkLst>
            <pc:docMk/>
            <pc:sldMk cId="2730051296" sldId="419"/>
            <ac:spMk id="6" creationId="{240A4CCC-E414-E154-DC3F-DE4D0B9E4E6A}"/>
          </ac:spMkLst>
        </pc:spChg>
        <pc:spChg chg="mod">
          <ac:chgData name="Rami Khoury" userId="S::rami@auxi.ai::71bbf9ab-5347-4116-ad90-41b06fea083e" providerId="AD" clId="Web-{0F05E12D-E5AD-4CCD-BCE0-AE0E8523EA91}" dt="2022-11-10T16:14:07.841" v="86" actId="14100"/>
          <ac:spMkLst>
            <pc:docMk/>
            <pc:sldMk cId="2730051296" sldId="419"/>
            <ac:spMk id="25" creationId="{EE47316F-41E8-68C0-898F-3ED8FC7651F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41.279" v="113" actId="20577"/>
        <pc:sldMkLst>
          <pc:docMk/>
          <pc:sldMk cId="3660211604" sldId="425"/>
        </pc:sldMkLst>
        <pc:spChg chg="add mod">
          <ac:chgData name="Rami Khoury" userId="S::rami@auxi.ai::71bbf9ab-5347-4116-ad90-41b06fea083e" providerId="AD" clId="Web-{0F05E12D-E5AD-4CCD-BCE0-AE0E8523EA91}" dt="2022-11-10T16:14:41.279" v="113" actId="20577"/>
          <ac:spMkLst>
            <pc:docMk/>
            <pc:sldMk cId="3660211604" sldId="425"/>
            <ac:spMk id="6" creationId="{EE65DF4C-9F65-1789-93A2-39521A5967AF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50.905" v="116" actId="20577"/>
        <pc:sldMkLst>
          <pc:docMk/>
          <pc:sldMk cId="2388409517" sldId="426"/>
        </pc:sldMkLst>
        <pc:spChg chg="add mod">
          <ac:chgData name="Rami Khoury" userId="S::rami@auxi.ai::71bbf9ab-5347-4116-ad90-41b06fea083e" providerId="AD" clId="Web-{0F05E12D-E5AD-4CCD-BCE0-AE0E8523EA91}" dt="2022-11-10T16:14:50.905" v="116" actId="20577"/>
          <ac:spMkLst>
            <pc:docMk/>
            <pc:sldMk cId="2388409517" sldId="426"/>
            <ac:spMk id="6" creationId="{044719B5-9F0C-5EC8-9638-6E216375488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5:35.640" v="135" actId="20577"/>
        <pc:sldMkLst>
          <pc:docMk/>
          <pc:sldMk cId="568402001" sldId="443"/>
        </pc:sldMkLst>
        <pc:spChg chg="add mod">
          <ac:chgData name="Rami Khoury" userId="S::rami@auxi.ai::71bbf9ab-5347-4116-ad90-41b06fea083e" providerId="AD" clId="Web-{0F05E12D-E5AD-4CCD-BCE0-AE0E8523EA91}" dt="2022-11-10T16:15:35.640" v="135" actId="20577"/>
          <ac:spMkLst>
            <pc:docMk/>
            <pc:sldMk cId="568402001" sldId="443"/>
            <ac:spMk id="4" creationId="{EEAB5E9B-8B9C-B581-B93B-650C37F994E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6:20.719" v="152" actId="20577"/>
        <pc:sldMkLst>
          <pc:docMk/>
          <pc:sldMk cId="484966792" sldId="454"/>
        </pc:sldMkLst>
        <pc:spChg chg="add mod">
          <ac:chgData name="Rami Khoury" userId="S::rami@auxi.ai::71bbf9ab-5347-4116-ad90-41b06fea083e" providerId="AD" clId="Web-{0F05E12D-E5AD-4CCD-BCE0-AE0E8523EA91}" dt="2022-11-10T16:16:20.719" v="152" actId="20577"/>
          <ac:spMkLst>
            <pc:docMk/>
            <pc:sldMk cId="484966792" sldId="454"/>
            <ac:spMk id="21" creationId="{54E6AAF6-0C68-4272-16C1-488C0BAC66A2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6:54.235" v="184" actId="20577"/>
        <pc:sldMkLst>
          <pc:docMk/>
          <pc:sldMk cId="2275337115" sldId="456"/>
        </pc:sldMkLst>
        <pc:spChg chg="add mod">
          <ac:chgData name="Rami Khoury" userId="S::rami@auxi.ai::71bbf9ab-5347-4116-ad90-41b06fea083e" providerId="AD" clId="Web-{0F05E12D-E5AD-4CCD-BCE0-AE0E8523EA91}" dt="2022-11-10T16:16:54.235" v="184" actId="20577"/>
          <ac:spMkLst>
            <pc:docMk/>
            <pc:sldMk cId="2275337115" sldId="456"/>
            <ac:spMk id="6" creationId="{417D2393-8D83-3215-0F8E-6157E1FB171F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7:14.314" v="197" actId="20577"/>
        <pc:sldMkLst>
          <pc:docMk/>
          <pc:sldMk cId="4219718538" sldId="462"/>
        </pc:sldMkLst>
        <pc:spChg chg="add mod">
          <ac:chgData name="Rami Khoury" userId="S::rami@auxi.ai::71bbf9ab-5347-4116-ad90-41b06fea083e" providerId="AD" clId="Web-{0F05E12D-E5AD-4CCD-BCE0-AE0E8523EA91}" dt="2022-11-10T16:17:14.314" v="197" actId="20577"/>
          <ac:spMkLst>
            <pc:docMk/>
            <pc:sldMk cId="4219718538" sldId="462"/>
            <ac:spMk id="4" creationId="{D17F0239-A2E4-3888-0FD8-708D862B48C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2E753A-2A8E-4FA4-A857-233A56515A45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1192C7-DD78-40CC-9E1E-119A9A8D5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000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1192C7-DD78-40CC-9E1E-119A9A8D5A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102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1192C7-DD78-40CC-9E1E-119A9A8D5A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5296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63AE89-D478-4B93-8806-852A1C8F75F6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28EC45-28F4-4DA2-ABC5-F361D4BBD29D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iamond 22">
            <a:extLst>
              <a:ext uri="{FF2B5EF4-FFF2-40B4-BE49-F238E27FC236}">
                <a16:creationId xmlns:a16="http://schemas.microsoft.com/office/drawing/2014/main" id="{8FC341B6-150A-4151-A569-EE3EB17ED634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1A37882-3819-4CF4-B66D-A671C0FDA8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489838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69242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9A178C1-A3AB-42DA-BD9F-02AB940D8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68350"/>
          </a:xfrm>
        </p:spPr>
        <p:txBody>
          <a:bodyPr>
            <a:normAutofit/>
          </a:bodyPr>
          <a:lstStyle>
            <a:lvl1pPr algn="ctr">
              <a:defRPr sz="4000">
                <a:latin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FBAF10-DC5A-4BE2-AF72-24BC22FFEA67}"/>
              </a:ext>
            </a:extLst>
          </p:cNvPr>
          <p:cNvCxnSpPr/>
          <p:nvPr userDrawn="1"/>
        </p:nvCxnSpPr>
        <p:spPr>
          <a:xfrm>
            <a:off x="4714875" y="1133476"/>
            <a:ext cx="27622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4690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96654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A1F9DC7-F920-4C13-9F91-29CFFF12EAA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734345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6C605C-2A73-4F5E-A294-077F30A3B3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31A060E-B246-46E4-B870-0E114B1CBAE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511847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>
            <a:spLocks/>
          </p:cNvSpPr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C4B26D50-A9D2-471D-8CB0-B094D0EB5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836831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848249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2">
            <a:extLst>
              <a:ext uri="{FF2B5EF4-FFF2-40B4-BE49-F238E27FC236}">
                <a16:creationId xmlns:a16="http://schemas.microsoft.com/office/drawing/2014/main" id="{34AEA312-77E9-4163-8C96-EBF9D3FCA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1519919-2BC6-4596-B263-68DE5C3FA67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CBEB14A-E25C-44EA-ABB3-71A3306FA4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33311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Dark">
            <a:extLst>
              <a:ext uri="{FF2B5EF4-FFF2-40B4-BE49-F238E27FC236}">
                <a16:creationId xmlns:a16="http://schemas.microsoft.com/office/drawing/2014/main" id="{5863FE7E-99A2-4451-8663-B681CE6DE4AA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48E043E-A93F-4641-BFB8-8416CD02AD52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C470D3-590B-455A-821E-FFED7FC7030B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iamond 22">
            <a:extLst>
              <a:ext uri="{FF2B5EF4-FFF2-40B4-BE49-F238E27FC236}">
                <a16:creationId xmlns:a16="http://schemas.microsoft.com/office/drawing/2014/main" id="{911C0FCF-1F1D-4768-9BB1-6B189197C5FC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516CE418-308F-480C-B024-972F9D92B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C823E540-3D48-4791-9E7A-8151FD17091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8D83191-8DFE-4EC1-A23B-459E3BB290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630722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184497AC-F47E-4CDF-89E9-19E69191D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3EB71EE-6350-4BB5-904A-6BEFD0493C0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196A5DE-90C3-4BE6-B712-09541564989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096008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50FD26-6F07-4EF5-AEAF-56964121B5EB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82A45AF-D0AC-4366-90E4-25C8E29457F3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iamond 22">
            <a:extLst>
              <a:ext uri="{FF2B5EF4-FFF2-40B4-BE49-F238E27FC236}">
                <a16:creationId xmlns:a16="http://schemas.microsoft.com/office/drawing/2014/main" id="{807708C1-7C7B-4D19-A315-BFDDBABA30F0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C49B4D12-6825-4BD2-8EBF-F1C024A71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9" name="SlideLogoText">
            <a:extLst>
              <a:ext uri="{FF2B5EF4-FFF2-40B4-BE49-F238E27FC236}">
                <a16:creationId xmlns:a16="http://schemas.microsoft.com/office/drawing/2014/main" id="{FC7E4E64-4F54-405A-BB1A-73DFEA379C8E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79D32BF-0BF4-4B21-89B9-E7342A36A28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742838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.png"/><Relationship Id="rId4" Type="http://schemas.openxmlformats.org/officeDocument/2006/relationships/tags" Target="../tags/tag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85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hf hdr="0" ftr="0"/>
  <p:txStyles>
    <p:titleStyle>
      <a:lvl1pPr algn="l" defTabSz="91434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585" indent="-228585" algn="l" defTabSz="91434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754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292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093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26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43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69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38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9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7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6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5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EC6455-DFBA-4FC6-912D-7CA9E9746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5FFBE9-A651-402B-A68B-4ADB2D1EB9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829385E8-B333-C51C-1469-DC584208D0E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429058" y="6529807"/>
            <a:ext cx="640457" cy="161583"/>
          </a:xfrm>
          <a:prstGeom prst="rect">
            <a:avLst/>
          </a:prstGeom>
          <a:noFill/>
        </p:spPr>
        <p:txBody>
          <a:bodyPr wrap="square" lIns="44450" tIns="19050" rIns="44450" bIns="1905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01/25/2023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4699937-9159-C88C-3118-DA7FF8370B93}"/>
              </a:ext>
            </a:extLst>
          </p:cNvPr>
          <p:cNvSpPr txBox="1">
            <a:spLocks/>
          </p:cNvSpPr>
          <p:nvPr userDrawn="1"/>
        </p:nvSpPr>
        <p:spPr>
          <a:xfrm>
            <a:off x="554736" y="6569049"/>
            <a:ext cx="3483865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ource: www.auxi.ai 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9A0E4693-A9BB-3FC3-1927-CB83F8E467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0839" cy="590839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A02E6C8-F963-A0C1-095E-0B43F738F44A}"/>
              </a:ext>
            </a:extLst>
          </p:cNvPr>
          <p:cNvCxnSpPr/>
          <p:nvPr userDrawn="1"/>
        </p:nvCxnSpPr>
        <p:spPr>
          <a:xfrm>
            <a:off x="251648" y="-535634"/>
            <a:ext cx="1709639" cy="170963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8B0FBD5-E1A4-B69C-450C-91624EA0407A}"/>
              </a:ext>
            </a:extLst>
          </p:cNvPr>
          <p:cNvSpPr txBox="1">
            <a:spLocks/>
          </p:cNvSpPr>
          <p:nvPr userDrawn="1"/>
        </p:nvSpPr>
        <p:spPr>
          <a:xfrm>
            <a:off x="11154508" y="6417897"/>
            <a:ext cx="39858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2CAE1DF-9AA2-46A4-9D05-5CEA4E3CC4AD}" type="slidenum">
              <a:rPr lang="en-US" sz="100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1619C54-4128-E600-56AD-8F766CCBF434}"/>
              </a:ext>
            </a:extLst>
          </p:cNvPr>
          <p:cNvCxnSpPr/>
          <p:nvPr userDrawn="1"/>
        </p:nvCxnSpPr>
        <p:spPr>
          <a:xfrm>
            <a:off x="10157648" y="5725466"/>
            <a:ext cx="1709639" cy="170963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amond 22">
            <a:extLst>
              <a:ext uri="{FF2B5EF4-FFF2-40B4-BE49-F238E27FC236}">
                <a16:creationId xmlns:a16="http://schemas.microsoft.com/office/drawing/2014/main" id="{9F332D41-702B-56F6-4D67-B234FF198D30}"/>
              </a:ext>
            </a:extLst>
          </p:cNvPr>
          <p:cNvSpPr/>
          <p:nvPr userDrawn="1"/>
        </p:nvSpPr>
        <p:spPr>
          <a:xfrm flipH="1">
            <a:off x="11012467" y="2260600"/>
            <a:ext cx="1171294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092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ahom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A35238A-C2BB-113E-211E-72F8825C27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D74108-B49E-DAE1-2E14-08C40AB83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AF4A2C91-F5A3-D54A-4119-49BD97E715BE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rapezoid 4">
            <a:extLst>
              <a:ext uri="{FF2B5EF4-FFF2-40B4-BE49-F238E27FC236}">
                <a16:creationId xmlns:a16="http://schemas.microsoft.com/office/drawing/2014/main" id="{412456BD-DB22-4D9D-5232-DE81FCBE84B7}"/>
              </a:ext>
            </a:extLst>
          </p:cNvPr>
          <p:cNvSpPr>
            <a:spLocks/>
          </p:cNvSpPr>
          <p:nvPr/>
        </p:nvSpPr>
        <p:spPr>
          <a:xfrm>
            <a:off x="1317155" y="3648340"/>
            <a:ext cx="2695767" cy="818104"/>
          </a:xfrm>
          <a:prstGeom prst="trapezoid">
            <a:avLst>
              <a:gd name="adj" fmla="val 47353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rapezoid 5">
            <a:extLst>
              <a:ext uri="{FF2B5EF4-FFF2-40B4-BE49-F238E27FC236}">
                <a16:creationId xmlns:a16="http://schemas.microsoft.com/office/drawing/2014/main" id="{3D67195B-F993-4A7B-AB33-7592B41D5A16}"/>
              </a:ext>
            </a:extLst>
          </p:cNvPr>
          <p:cNvSpPr>
            <a:spLocks/>
          </p:cNvSpPr>
          <p:nvPr/>
        </p:nvSpPr>
        <p:spPr>
          <a:xfrm>
            <a:off x="1700579" y="2837222"/>
            <a:ext cx="1928919" cy="818104"/>
          </a:xfrm>
          <a:prstGeom prst="trapezoid">
            <a:avLst>
              <a:gd name="adj" fmla="val 47062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rapezoid 6">
            <a:extLst>
              <a:ext uri="{FF2B5EF4-FFF2-40B4-BE49-F238E27FC236}">
                <a16:creationId xmlns:a16="http://schemas.microsoft.com/office/drawing/2014/main" id="{0DC58D55-F762-386B-7352-69228896B899}"/>
              </a:ext>
            </a:extLst>
          </p:cNvPr>
          <p:cNvSpPr>
            <a:spLocks/>
          </p:cNvSpPr>
          <p:nvPr/>
        </p:nvSpPr>
        <p:spPr>
          <a:xfrm>
            <a:off x="936416" y="4459458"/>
            <a:ext cx="3457244" cy="818185"/>
          </a:xfrm>
          <a:prstGeom prst="trapezoid">
            <a:avLst>
              <a:gd name="adj" fmla="val 47062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1990FD59-96A7-901B-A09A-3FCBCAB35FD0}"/>
              </a:ext>
            </a:extLst>
          </p:cNvPr>
          <p:cNvSpPr>
            <a:spLocks/>
          </p:cNvSpPr>
          <p:nvPr/>
        </p:nvSpPr>
        <p:spPr>
          <a:xfrm>
            <a:off x="554731" y="5270658"/>
            <a:ext cx="4220615" cy="810863"/>
          </a:xfrm>
          <a:prstGeom prst="trapezoid">
            <a:avLst>
              <a:gd name="adj" fmla="val 47710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DF11DC51-913F-28C3-7653-0647C2CDA861}"/>
              </a:ext>
            </a:extLst>
          </p:cNvPr>
          <p:cNvSpPr>
            <a:spLocks/>
          </p:cNvSpPr>
          <p:nvPr/>
        </p:nvSpPr>
        <p:spPr>
          <a:xfrm>
            <a:off x="2086952" y="1598953"/>
            <a:ext cx="1156172" cy="1245255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D055D7E-EFE0-34EE-6AD5-425E0542388C}"/>
              </a:ext>
            </a:extLst>
          </p:cNvPr>
          <p:cNvSpPr txBox="1"/>
          <p:nvPr/>
        </p:nvSpPr>
        <p:spPr>
          <a:xfrm>
            <a:off x="1916720" y="5485043"/>
            <a:ext cx="1496637" cy="38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iam Vitae Qua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7C1221C-FC1B-15F2-7962-BF8E702783D5}"/>
              </a:ext>
            </a:extLst>
          </p:cNvPr>
          <p:cNvSpPr txBox="1"/>
          <p:nvPr/>
        </p:nvSpPr>
        <p:spPr>
          <a:xfrm>
            <a:off x="1916720" y="4675104"/>
            <a:ext cx="1496637" cy="38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iam Vitae Qua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8BB8B6-9C90-5CE8-B74C-3FFA7EFD6C5C}"/>
              </a:ext>
            </a:extLst>
          </p:cNvPr>
          <p:cNvSpPr txBox="1"/>
          <p:nvPr/>
        </p:nvSpPr>
        <p:spPr>
          <a:xfrm>
            <a:off x="1916720" y="3865166"/>
            <a:ext cx="1496637" cy="38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iam Vitae Qua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C69D61D-A6E9-4A4D-874B-0DE35F0E5545}"/>
              </a:ext>
            </a:extLst>
          </p:cNvPr>
          <p:cNvSpPr txBox="1"/>
          <p:nvPr/>
        </p:nvSpPr>
        <p:spPr>
          <a:xfrm>
            <a:off x="1916720" y="3055228"/>
            <a:ext cx="1496637" cy="38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iam Vitae Qu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16B4DDC-2E25-CD4D-534A-6F5C501CC19A}"/>
              </a:ext>
            </a:extLst>
          </p:cNvPr>
          <p:cNvSpPr txBox="1"/>
          <p:nvPr/>
        </p:nvSpPr>
        <p:spPr>
          <a:xfrm>
            <a:off x="2253761" y="1948382"/>
            <a:ext cx="848371" cy="89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iam Vitae Qu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297DE25-5308-0468-8A40-D7F37F304D62}"/>
              </a:ext>
            </a:extLst>
          </p:cNvPr>
          <p:cNvSpPr txBox="1"/>
          <p:nvPr/>
        </p:nvSpPr>
        <p:spPr>
          <a:xfrm>
            <a:off x="5225142" y="2066042"/>
            <a:ext cx="6412117" cy="6639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iam Vitae Quam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s leo pulvinar lacinia. Vitae quam quis leo at quis odio. Etiam vitae quam quis leo pulvinar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2129D3E-5562-51AF-4F4A-3BE7BB161BA0}"/>
              </a:ext>
            </a:extLst>
          </p:cNvPr>
          <p:cNvSpPr txBox="1"/>
          <p:nvPr/>
        </p:nvSpPr>
        <p:spPr>
          <a:xfrm>
            <a:off x="5225142" y="2916568"/>
            <a:ext cx="6412117" cy="6639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iam Vitae Quam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s leo pulvinar lacinia. Vitae quam quis leo at quis odio. Etiam vitae quam quis leo pulvinar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E1D905-E484-4186-7428-627B7CDCC800}"/>
              </a:ext>
            </a:extLst>
          </p:cNvPr>
          <p:cNvSpPr txBox="1"/>
          <p:nvPr/>
        </p:nvSpPr>
        <p:spPr>
          <a:xfrm>
            <a:off x="5225142" y="3726506"/>
            <a:ext cx="6412117" cy="6639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iam Vitae Quam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s leo pulvinar lacinia. Vitae quam quis leo at quis odio. Etiam vitae quam quis leo pulvinar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106EC6-584B-421D-32C9-C93FDC826C3D}"/>
              </a:ext>
            </a:extLst>
          </p:cNvPr>
          <p:cNvSpPr txBox="1"/>
          <p:nvPr/>
        </p:nvSpPr>
        <p:spPr>
          <a:xfrm>
            <a:off x="5225142" y="4536444"/>
            <a:ext cx="6412117" cy="6639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iam Vitae Quam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s leo pulvinar lacinia. Vitae quam quis leo at quis odio. Etiam vitae quam quis leo pulvinar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055E8E3-4CA6-CC6C-62F6-F951E6AF5C4B}"/>
              </a:ext>
            </a:extLst>
          </p:cNvPr>
          <p:cNvSpPr txBox="1"/>
          <p:nvPr/>
        </p:nvSpPr>
        <p:spPr>
          <a:xfrm>
            <a:off x="5225142" y="5346383"/>
            <a:ext cx="6412117" cy="6639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iam Vitae Quam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s leo pulvinar lacinia. Vitae quam quis leo at quis odio. Etiam vitae quam quis leo pulvinar.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69B34EA-A51B-8851-97A4-E4A9EFDA0D8C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2917371" y="2397992"/>
            <a:ext cx="2307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D89A1A2-A4E7-8BF8-39A1-C151FE0606F0}"/>
              </a:ext>
            </a:extLst>
          </p:cNvPr>
          <p:cNvCxnSpPr>
            <a:cxnSpLocks/>
            <a:stCxn id="15" idx="3"/>
            <a:endCxn id="23" idx="1"/>
          </p:cNvCxnSpPr>
          <p:nvPr/>
        </p:nvCxnSpPr>
        <p:spPr>
          <a:xfrm>
            <a:off x="3413357" y="3246274"/>
            <a:ext cx="1811785" cy="22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C9E4DA9-421A-3DE6-2C36-F0A2B9380EC1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3620482" y="4058456"/>
            <a:ext cx="16046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BFF66BA-F68E-48F1-71CC-3054137C04AF}"/>
              </a:ext>
            </a:extLst>
          </p:cNvPr>
          <p:cNvCxnSpPr>
            <a:cxnSpLocks/>
            <a:stCxn id="13" idx="3"/>
            <a:endCxn id="25" idx="1"/>
          </p:cNvCxnSpPr>
          <p:nvPr/>
        </p:nvCxnSpPr>
        <p:spPr>
          <a:xfrm>
            <a:off x="3413357" y="4866150"/>
            <a:ext cx="1811785" cy="22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DE68A13-F6BC-43A2-2FFF-0650A7BFC13A}"/>
              </a:ext>
            </a:extLst>
          </p:cNvPr>
          <p:cNvCxnSpPr>
            <a:cxnSpLocks/>
            <a:stCxn id="12" idx="3"/>
            <a:endCxn id="26" idx="1"/>
          </p:cNvCxnSpPr>
          <p:nvPr/>
        </p:nvCxnSpPr>
        <p:spPr>
          <a:xfrm>
            <a:off x="3413357" y="5676089"/>
            <a:ext cx="1811785" cy="22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5209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C6AEB110-99D8-A051-7D3D-426741D6265B}"/>
              </a:ext>
            </a:extLst>
          </p:cNvPr>
          <p:cNvCxnSpPr>
            <a:cxnSpLocks/>
            <a:endCxn id="101" idx="3"/>
          </p:cNvCxnSpPr>
          <p:nvPr/>
        </p:nvCxnSpPr>
        <p:spPr>
          <a:xfrm flipH="1">
            <a:off x="3396334" y="5255423"/>
            <a:ext cx="128595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5E09A406-DF0D-5628-7493-CDE1D357C671}"/>
              </a:ext>
            </a:extLst>
          </p:cNvPr>
          <p:cNvCxnSpPr>
            <a:cxnSpLocks/>
            <a:endCxn id="82" idx="3"/>
          </p:cNvCxnSpPr>
          <p:nvPr/>
        </p:nvCxnSpPr>
        <p:spPr>
          <a:xfrm flipH="1">
            <a:off x="4143845" y="2471730"/>
            <a:ext cx="1727725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B419CF21-E293-25DE-E58D-44C1F5D3C25C}"/>
              </a:ext>
            </a:extLst>
          </p:cNvPr>
          <p:cNvCxnSpPr>
            <a:cxnSpLocks/>
            <a:endCxn id="64" idx="1"/>
          </p:cNvCxnSpPr>
          <p:nvPr/>
        </p:nvCxnSpPr>
        <p:spPr>
          <a:xfrm>
            <a:off x="7050861" y="3227563"/>
            <a:ext cx="997285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D0A810C8-FE0C-4EFD-AC25-80F035477C0A}"/>
              </a:ext>
            </a:extLst>
          </p:cNvPr>
          <p:cNvCxnSpPr>
            <a:cxnSpLocks/>
            <a:endCxn id="69" idx="1"/>
          </p:cNvCxnSpPr>
          <p:nvPr/>
        </p:nvCxnSpPr>
        <p:spPr>
          <a:xfrm>
            <a:off x="7726680" y="4279437"/>
            <a:ext cx="106897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9E1D32F9-9B9A-D3C9-EA32-6901571A4BCE}"/>
              </a:ext>
            </a:extLst>
          </p:cNvPr>
          <p:cNvCxnSpPr>
            <a:cxnSpLocks/>
            <a:endCxn id="89" idx="3"/>
          </p:cNvCxnSpPr>
          <p:nvPr/>
        </p:nvCxnSpPr>
        <p:spPr>
          <a:xfrm flipH="1">
            <a:off x="3981157" y="3758407"/>
            <a:ext cx="78359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F9EE4452-8701-B3AA-2EFA-33598BBF433C}"/>
              </a:ext>
            </a:extLst>
          </p:cNvPr>
          <p:cNvSpPr/>
          <p:nvPr/>
        </p:nvSpPr>
        <p:spPr>
          <a:xfrm>
            <a:off x="6142069" y="4578551"/>
            <a:ext cx="2505119" cy="1598183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7086 w 1316947"/>
              <a:gd name="connsiteY0" fmla="*/ 224719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7086 w 1316947"/>
              <a:gd name="connsiteY4" fmla="*/ 224719 h 666750"/>
              <a:gd name="connsiteX0" fmla="*/ 3175 w 1313036"/>
              <a:gd name="connsiteY0" fmla="*/ 224719 h 777169"/>
              <a:gd name="connsiteX1" fmla="*/ 960611 w 1313036"/>
              <a:gd name="connsiteY1" fmla="*/ 0 h 777169"/>
              <a:gd name="connsiteX2" fmla="*/ 1313036 w 1313036"/>
              <a:gd name="connsiteY2" fmla="*/ 438150 h 777169"/>
              <a:gd name="connsiteX3" fmla="*/ 0 w 1313036"/>
              <a:gd name="connsiteY3" fmla="*/ 777169 h 777169"/>
              <a:gd name="connsiteX4" fmla="*/ 3175 w 1313036"/>
              <a:gd name="connsiteY4" fmla="*/ 224719 h 777169"/>
              <a:gd name="connsiteX0" fmla="*/ 3175 w 1219167"/>
              <a:gd name="connsiteY0" fmla="*/ 224719 h 777169"/>
              <a:gd name="connsiteX1" fmla="*/ 960611 w 1219167"/>
              <a:gd name="connsiteY1" fmla="*/ 0 h 777169"/>
              <a:gd name="connsiteX2" fmla="*/ 1219167 w 1219167"/>
              <a:gd name="connsiteY2" fmla="*/ 418074 h 777169"/>
              <a:gd name="connsiteX3" fmla="*/ 0 w 1219167"/>
              <a:gd name="connsiteY3" fmla="*/ 777169 h 777169"/>
              <a:gd name="connsiteX4" fmla="*/ 3175 w 1219167"/>
              <a:gd name="connsiteY4" fmla="*/ 224719 h 777169"/>
              <a:gd name="connsiteX0" fmla="*/ 3175 w 1168321"/>
              <a:gd name="connsiteY0" fmla="*/ 224719 h 777169"/>
              <a:gd name="connsiteX1" fmla="*/ 960611 w 1168321"/>
              <a:gd name="connsiteY1" fmla="*/ 0 h 777169"/>
              <a:gd name="connsiteX2" fmla="*/ 1168321 w 1168321"/>
              <a:gd name="connsiteY2" fmla="*/ 337769 h 777169"/>
              <a:gd name="connsiteX3" fmla="*/ 0 w 1168321"/>
              <a:gd name="connsiteY3" fmla="*/ 777169 h 777169"/>
              <a:gd name="connsiteX4" fmla="*/ 3175 w 1168321"/>
              <a:gd name="connsiteY4" fmla="*/ 224719 h 777169"/>
              <a:gd name="connsiteX0" fmla="*/ 3175 w 1203522"/>
              <a:gd name="connsiteY0" fmla="*/ 224719 h 777169"/>
              <a:gd name="connsiteX1" fmla="*/ 960611 w 1203522"/>
              <a:gd name="connsiteY1" fmla="*/ 0 h 777169"/>
              <a:gd name="connsiteX2" fmla="*/ 1203522 w 1203522"/>
              <a:gd name="connsiteY2" fmla="*/ 387960 h 777169"/>
              <a:gd name="connsiteX3" fmla="*/ 0 w 1203522"/>
              <a:gd name="connsiteY3" fmla="*/ 777169 h 777169"/>
              <a:gd name="connsiteX4" fmla="*/ 3175 w 1203522"/>
              <a:gd name="connsiteY4" fmla="*/ 224719 h 777169"/>
              <a:gd name="connsiteX0" fmla="*/ 9 w 1200356"/>
              <a:gd name="connsiteY0" fmla="*/ 224719 h 636636"/>
              <a:gd name="connsiteX1" fmla="*/ 957445 w 1200356"/>
              <a:gd name="connsiteY1" fmla="*/ 0 h 636636"/>
              <a:gd name="connsiteX2" fmla="*/ 1200356 w 1200356"/>
              <a:gd name="connsiteY2" fmla="*/ 387960 h 636636"/>
              <a:gd name="connsiteX3" fmla="*/ 90703 w 1200356"/>
              <a:gd name="connsiteY3" fmla="*/ 636636 h 636636"/>
              <a:gd name="connsiteX4" fmla="*/ 9 w 1200356"/>
              <a:gd name="connsiteY4" fmla="*/ 224719 h 636636"/>
              <a:gd name="connsiteX0" fmla="*/ 239 w 1200586"/>
              <a:gd name="connsiteY0" fmla="*/ 224719 h 762112"/>
              <a:gd name="connsiteX1" fmla="*/ 957675 w 1200586"/>
              <a:gd name="connsiteY1" fmla="*/ 0 h 762112"/>
              <a:gd name="connsiteX2" fmla="*/ 1200586 w 1200586"/>
              <a:gd name="connsiteY2" fmla="*/ 387960 h 762112"/>
              <a:gd name="connsiteX3" fmla="*/ 975 w 1200586"/>
              <a:gd name="connsiteY3" fmla="*/ 762112 h 762112"/>
              <a:gd name="connsiteX4" fmla="*/ 239 w 1200586"/>
              <a:gd name="connsiteY4" fmla="*/ 224719 h 762112"/>
              <a:gd name="connsiteX0" fmla="*/ 30790 w 1199611"/>
              <a:gd name="connsiteY0" fmla="*/ 305630 h 762112"/>
              <a:gd name="connsiteX1" fmla="*/ 956700 w 1199611"/>
              <a:gd name="connsiteY1" fmla="*/ 0 h 762112"/>
              <a:gd name="connsiteX2" fmla="*/ 1199611 w 1199611"/>
              <a:gd name="connsiteY2" fmla="*/ 387960 h 762112"/>
              <a:gd name="connsiteX3" fmla="*/ 0 w 1199611"/>
              <a:gd name="connsiteY3" fmla="*/ 762112 h 762112"/>
              <a:gd name="connsiteX4" fmla="*/ 30790 w 1199611"/>
              <a:gd name="connsiteY4" fmla="*/ 305630 h 762112"/>
              <a:gd name="connsiteX0" fmla="*/ 79 w 1207432"/>
              <a:gd name="connsiteY0" fmla="*/ 242700 h 762112"/>
              <a:gd name="connsiteX1" fmla="*/ 964521 w 1207432"/>
              <a:gd name="connsiteY1" fmla="*/ 0 h 762112"/>
              <a:gd name="connsiteX2" fmla="*/ 1207432 w 1207432"/>
              <a:gd name="connsiteY2" fmla="*/ 387960 h 762112"/>
              <a:gd name="connsiteX3" fmla="*/ 7821 w 1207432"/>
              <a:gd name="connsiteY3" fmla="*/ 762112 h 762112"/>
              <a:gd name="connsiteX4" fmla="*/ 79 w 1207432"/>
              <a:gd name="connsiteY4" fmla="*/ 242700 h 762112"/>
              <a:gd name="connsiteX0" fmla="*/ 119 w 1207472"/>
              <a:gd name="connsiteY0" fmla="*/ 242700 h 789082"/>
              <a:gd name="connsiteX1" fmla="*/ 964561 w 1207472"/>
              <a:gd name="connsiteY1" fmla="*/ 0 h 789082"/>
              <a:gd name="connsiteX2" fmla="*/ 1207472 w 1207472"/>
              <a:gd name="connsiteY2" fmla="*/ 387960 h 789082"/>
              <a:gd name="connsiteX3" fmla="*/ 4358 w 1207472"/>
              <a:gd name="connsiteY3" fmla="*/ 789082 h 789082"/>
              <a:gd name="connsiteX4" fmla="*/ 119 w 1207472"/>
              <a:gd name="connsiteY4" fmla="*/ 242700 h 789082"/>
              <a:gd name="connsiteX0" fmla="*/ 119 w 1272816"/>
              <a:gd name="connsiteY0" fmla="*/ 502064 h 1048446"/>
              <a:gd name="connsiteX1" fmla="*/ 1272816 w 1272816"/>
              <a:gd name="connsiteY1" fmla="*/ 0 h 1048446"/>
              <a:gd name="connsiteX2" fmla="*/ 1207472 w 1272816"/>
              <a:gd name="connsiteY2" fmla="*/ 647324 h 1048446"/>
              <a:gd name="connsiteX3" fmla="*/ 4358 w 1272816"/>
              <a:gd name="connsiteY3" fmla="*/ 1048446 h 1048446"/>
              <a:gd name="connsiteX4" fmla="*/ 119 w 1272816"/>
              <a:gd name="connsiteY4" fmla="*/ 502064 h 1048446"/>
              <a:gd name="connsiteX0" fmla="*/ 119 w 1501714"/>
              <a:gd name="connsiteY0" fmla="*/ 502064 h 1048446"/>
              <a:gd name="connsiteX1" fmla="*/ 1272816 w 1501714"/>
              <a:gd name="connsiteY1" fmla="*/ 0 h 1048446"/>
              <a:gd name="connsiteX2" fmla="*/ 1501714 w 1501714"/>
              <a:gd name="connsiteY2" fmla="*/ 364803 h 1048446"/>
              <a:gd name="connsiteX3" fmla="*/ 4358 w 1501714"/>
              <a:gd name="connsiteY3" fmla="*/ 1048446 h 1048446"/>
              <a:gd name="connsiteX4" fmla="*/ 119 w 1501714"/>
              <a:gd name="connsiteY4" fmla="*/ 502064 h 1048446"/>
              <a:gd name="connsiteX0" fmla="*/ 24 w 1501619"/>
              <a:gd name="connsiteY0" fmla="*/ 502064 h 1071604"/>
              <a:gd name="connsiteX1" fmla="*/ 1272721 w 1501619"/>
              <a:gd name="connsiteY1" fmla="*/ 0 h 1071604"/>
              <a:gd name="connsiteX2" fmla="*/ 1501619 w 1501619"/>
              <a:gd name="connsiteY2" fmla="*/ 364803 h 1071604"/>
              <a:gd name="connsiteX3" fmla="*/ 32286 w 1501619"/>
              <a:gd name="connsiteY3" fmla="*/ 1071604 h 1071604"/>
              <a:gd name="connsiteX4" fmla="*/ 24 w 1501619"/>
              <a:gd name="connsiteY4" fmla="*/ 502064 h 1071604"/>
              <a:gd name="connsiteX0" fmla="*/ 48 w 1484129"/>
              <a:gd name="connsiteY0" fmla="*/ 488169 h 1071604"/>
              <a:gd name="connsiteX1" fmla="*/ 1255231 w 1484129"/>
              <a:gd name="connsiteY1" fmla="*/ 0 h 1071604"/>
              <a:gd name="connsiteX2" fmla="*/ 1484129 w 1484129"/>
              <a:gd name="connsiteY2" fmla="*/ 364803 h 1071604"/>
              <a:gd name="connsiteX3" fmla="*/ 14796 w 1484129"/>
              <a:gd name="connsiteY3" fmla="*/ 1071604 h 1071604"/>
              <a:gd name="connsiteX4" fmla="*/ 48 w 1484129"/>
              <a:gd name="connsiteY4" fmla="*/ 488169 h 1071604"/>
              <a:gd name="connsiteX0" fmla="*/ 0 w 1484081"/>
              <a:gd name="connsiteY0" fmla="*/ 488169 h 1071604"/>
              <a:gd name="connsiteX1" fmla="*/ 1255183 w 1484081"/>
              <a:gd name="connsiteY1" fmla="*/ 0 h 1071604"/>
              <a:gd name="connsiteX2" fmla="*/ 1484081 w 1484081"/>
              <a:gd name="connsiteY2" fmla="*/ 364803 h 1071604"/>
              <a:gd name="connsiteX3" fmla="*/ 14748 w 1484081"/>
              <a:gd name="connsiteY3" fmla="*/ 1071604 h 1071604"/>
              <a:gd name="connsiteX4" fmla="*/ 0 w 1484081"/>
              <a:gd name="connsiteY4" fmla="*/ 488169 h 1071604"/>
              <a:gd name="connsiteX0" fmla="*/ 0 w 1484081"/>
              <a:gd name="connsiteY0" fmla="*/ 488169 h 1071604"/>
              <a:gd name="connsiteX1" fmla="*/ 1255183 w 1484081"/>
              <a:gd name="connsiteY1" fmla="*/ 0 h 1071604"/>
              <a:gd name="connsiteX2" fmla="*/ 1484081 w 1484081"/>
              <a:gd name="connsiteY2" fmla="*/ 364803 h 1071604"/>
              <a:gd name="connsiteX3" fmla="*/ 14748 w 1484081"/>
              <a:gd name="connsiteY3" fmla="*/ 1071604 h 1071604"/>
              <a:gd name="connsiteX4" fmla="*/ 0 w 1484081"/>
              <a:gd name="connsiteY4" fmla="*/ 488169 h 1071604"/>
              <a:gd name="connsiteX0" fmla="*/ 0 w 1536178"/>
              <a:gd name="connsiteY0" fmla="*/ 791784 h 1375219"/>
              <a:gd name="connsiteX1" fmla="*/ 1536178 w 1536178"/>
              <a:gd name="connsiteY1" fmla="*/ 0 h 1375219"/>
              <a:gd name="connsiteX2" fmla="*/ 1484081 w 1536178"/>
              <a:gd name="connsiteY2" fmla="*/ 668418 h 1375219"/>
              <a:gd name="connsiteX3" fmla="*/ 14748 w 1536178"/>
              <a:gd name="connsiteY3" fmla="*/ 1375219 h 1375219"/>
              <a:gd name="connsiteX4" fmla="*/ 0 w 1536178"/>
              <a:gd name="connsiteY4" fmla="*/ 791784 h 1375219"/>
              <a:gd name="connsiteX0" fmla="*/ 0 w 1789247"/>
              <a:gd name="connsiteY0" fmla="*/ 791784 h 1375219"/>
              <a:gd name="connsiteX1" fmla="*/ 1536178 w 1789247"/>
              <a:gd name="connsiteY1" fmla="*/ 0 h 1375219"/>
              <a:gd name="connsiteX2" fmla="*/ 1789247 w 1789247"/>
              <a:gd name="connsiteY2" fmla="*/ 420731 h 1375219"/>
              <a:gd name="connsiteX3" fmla="*/ 14748 w 1789247"/>
              <a:gd name="connsiteY3" fmla="*/ 1375219 h 1375219"/>
              <a:gd name="connsiteX4" fmla="*/ 0 w 1789247"/>
              <a:gd name="connsiteY4" fmla="*/ 791784 h 1375219"/>
              <a:gd name="connsiteX0" fmla="*/ 0 w 1789247"/>
              <a:gd name="connsiteY0" fmla="*/ 791784 h 1463108"/>
              <a:gd name="connsiteX1" fmla="*/ 1536178 w 1789247"/>
              <a:gd name="connsiteY1" fmla="*/ 0 h 1463108"/>
              <a:gd name="connsiteX2" fmla="*/ 1789247 w 1789247"/>
              <a:gd name="connsiteY2" fmla="*/ 420731 h 1463108"/>
              <a:gd name="connsiteX3" fmla="*/ 35898 w 1789247"/>
              <a:gd name="connsiteY3" fmla="*/ 1463108 h 1463108"/>
              <a:gd name="connsiteX4" fmla="*/ 0 w 1789247"/>
              <a:gd name="connsiteY4" fmla="*/ 791784 h 1463108"/>
              <a:gd name="connsiteX0" fmla="*/ 0 w 1789247"/>
              <a:gd name="connsiteY0" fmla="*/ 791784 h 1455117"/>
              <a:gd name="connsiteX1" fmla="*/ 1536178 w 1789247"/>
              <a:gd name="connsiteY1" fmla="*/ 0 h 1455117"/>
              <a:gd name="connsiteX2" fmla="*/ 1789247 w 1789247"/>
              <a:gd name="connsiteY2" fmla="*/ 420731 h 1455117"/>
              <a:gd name="connsiteX3" fmla="*/ 23812 w 1789247"/>
              <a:gd name="connsiteY3" fmla="*/ 1455117 h 1455117"/>
              <a:gd name="connsiteX4" fmla="*/ 0 w 1789247"/>
              <a:gd name="connsiteY4" fmla="*/ 791784 h 1455117"/>
              <a:gd name="connsiteX0" fmla="*/ 0 w 1789247"/>
              <a:gd name="connsiteY0" fmla="*/ 791784 h 1263360"/>
              <a:gd name="connsiteX1" fmla="*/ 1536178 w 1789247"/>
              <a:gd name="connsiteY1" fmla="*/ 0 h 1263360"/>
              <a:gd name="connsiteX2" fmla="*/ 1789247 w 1789247"/>
              <a:gd name="connsiteY2" fmla="*/ 420731 h 1263360"/>
              <a:gd name="connsiteX3" fmla="*/ 135605 w 1789247"/>
              <a:gd name="connsiteY3" fmla="*/ 1263360 h 1263360"/>
              <a:gd name="connsiteX4" fmla="*/ 0 w 1789247"/>
              <a:gd name="connsiteY4" fmla="*/ 791784 h 1263360"/>
              <a:gd name="connsiteX0" fmla="*/ 0 w 1789247"/>
              <a:gd name="connsiteY0" fmla="*/ 791784 h 1471097"/>
              <a:gd name="connsiteX1" fmla="*/ 1536178 w 1789247"/>
              <a:gd name="connsiteY1" fmla="*/ 0 h 1471097"/>
              <a:gd name="connsiteX2" fmla="*/ 1789247 w 1789247"/>
              <a:gd name="connsiteY2" fmla="*/ 420731 h 1471097"/>
              <a:gd name="connsiteX3" fmla="*/ 23812 w 1789247"/>
              <a:gd name="connsiteY3" fmla="*/ 1471097 h 1471097"/>
              <a:gd name="connsiteX4" fmla="*/ 0 w 1789247"/>
              <a:gd name="connsiteY4" fmla="*/ 791784 h 1471097"/>
              <a:gd name="connsiteX0" fmla="*/ 31860 w 1766721"/>
              <a:gd name="connsiteY0" fmla="*/ 851708 h 1471097"/>
              <a:gd name="connsiteX1" fmla="*/ 1513652 w 1766721"/>
              <a:gd name="connsiteY1" fmla="*/ 0 h 1471097"/>
              <a:gd name="connsiteX2" fmla="*/ 1766721 w 1766721"/>
              <a:gd name="connsiteY2" fmla="*/ 420731 h 1471097"/>
              <a:gd name="connsiteX3" fmla="*/ 1286 w 1766721"/>
              <a:gd name="connsiteY3" fmla="*/ 1471097 h 1471097"/>
              <a:gd name="connsiteX4" fmla="*/ 31860 w 1766721"/>
              <a:gd name="connsiteY4" fmla="*/ 851708 h 1471097"/>
              <a:gd name="connsiteX0" fmla="*/ 6090 w 1768144"/>
              <a:gd name="connsiteY0" fmla="*/ 827738 h 1471097"/>
              <a:gd name="connsiteX1" fmla="*/ 1515075 w 1768144"/>
              <a:gd name="connsiteY1" fmla="*/ 0 h 1471097"/>
              <a:gd name="connsiteX2" fmla="*/ 1768144 w 1768144"/>
              <a:gd name="connsiteY2" fmla="*/ 420731 h 1471097"/>
              <a:gd name="connsiteX3" fmla="*/ 2709 w 1768144"/>
              <a:gd name="connsiteY3" fmla="*/ 1471097 h 1471097"/>
              <a:gd name="connsiteX4" fmla="*/ 6090 w 1768144"/>
              <a:gd name="connsiteY4" fmla="*/ 827738 h 1471097"/>
              <a:gd name="connsiteX0" fmla="*/ 0 w 1786225"/>
              <a:gd name="connsiteY0" fmla="*/ 791784 h 1471097"/>
              <a:gd name="connsiteX1" fmla="*/ 1533156 w 1786225"/>
              <a:gd name="connsiteY1" fmla="*/ 0 h 1471097"/>
              <a:gd name="connsiteX2" fmla="*/ 1786225 w 1786225"/>
              <a:gd name="connsiteY2" fmla="*/ 420731 h 1471097"/>
              <a:gd name="connsiteX3" fmla="*/ 20790 w 1786225"/>
              <a:gd name="connsiteY3" fmla="*/ 1471097 h 1471097"/>
              <a:gd name="connsiteX4" fmla="*/ 0 w 1786225"/>
              <a:gd name="connsiteY4" fmla="*/ 791784 h 1471097"/>
              <a:gd name="connsiteX0" fmla="*/ 0 w 1786225"/>
              <a:gd name="connsiteY0" fmla="*/ 791784 h 1419162"/>
              <a:gd name="connsiteX1" fmla="*/ 1533156 w 1786225"/>
              <a:gd name="connsiteY1" fmla="*/ 0 h 1419162"/>
              <a:gd name="connsiteX2" fmla="*/ 1786225 w 1786225"/>
              <a:gd name="connsiteY2" fmla="*/ 420731 h 1419162"/>
              <a:gd name="connsiteX3" fmla="*/ 99348 w 1786225"/>
              <a:gd name="connsiteY3" fmla="*/ 1419162 h 1419162"/>
              <a:gd name="connsiteX4" fmla="*/ 0 w 1786225"/>
              <a:gd name="connsiteY4" fmla="*/ 791784 h 1419162"/>
              <a:gd name="connsiteX0" fmla="*/ 0 w 1786225"/>
              <a:gd name="connsiteY0" fmla="*/ 791784 h 1479086"/>
              <a:gd name="connsiteX1" fmla="*/ 1533156 w 1786225"/>
              <a:gd name="connsiteY1" fmla="*/ 0 h 1479086"/>
              <a:gd name="connsiteX2" fmla="*/ 1786225 w 1786225"/>
              <a:gd name="connsiteY2" fmla="*/ 420731 h 1479086"/>
              <a:gd name="connsiteX3" fmla="*/ 35898 w 1786225"/>
              <a:gd name="connsiteY3" fmla="*/ 1479086 h 1479086"/>
              <a:gd name="connsiteX4" fmla="*/ 0 w 1786225"/>
              <a:gd name="connsiteY4" fmla="*/ 791784 h 1479086"/>
              <a:gd name="connsiteX0" fmla="*/ 0 w 1786225"/>
              <a:gd name="connsiteY0" fmla="*/ 791784 h 1487076"/>
              <a:gd name="connsiteX1" fmla="*/ 1533156 w 1786225"/>
              <a:gd name="connsiteY1" fmla="*/ 0 h 1487076"/>
              <a:gd name="connsiteX2" fmla="*/ 1786225 w 1786225"/>
              <a:gd name="connsiteY2" fmla="*/ 420731 h 1487076"/>
              <a:gd name="connsiteX3" fmla="*/ 26833 w 1786225"/>
              <a:gd name="connsiteY3" fmla="*/ 1487076 h 1487076"/>
              <a:gd name="connsiteX4" fmla="*/ 0 w 1786225"/>
              <a:gd name="connsiteY4" fmla="*/ 791784 h 1487076"/>
              <a:gd name="connsiteX0" fmla="*/ 191027 w 1759708"/>
              <a:gd name="connsiteY0" fmla="*/ 879672 h 1487076"/>
              <a:gd name="connsiteX1" fmla="*/ 1506639 w 1759708"/>
              <a:gd name="connsiteY1" fmla="*/ 0 h 1487076"/>
              <a:gd name="connsiteX2" fmla="*/ 1759708 w 1759708"/>
              <a:gd name="connsiteY2" fmla="*/ 420731 h 1487076"/>
              <a:gd name="connsiteX3" fmla="*/ 316 w 1759708"/>
              <a:gd name="connsiteY3" fmla="*/ 1487076 h 1487076"/>
              <a:gd name="connsiteX4" fmla="*/ 191027 w 1759708"/>
              <a:gd name="connsiteY4" fmla="*/ 879672 h 1487076"/>
              <a:gd name="connsiteX0" fmla="*/ 0 w 1789247"/>
              <a:gd name="connsiteY0" fmla="*/ 799774 h 1487076"/>
              <a:gd name="connsiteX1" fmla="*/ 1536178 w 1789247"/>
              <a:gd name="connsiteY1" fmla="*/ 0 h 1487076"/>
              <a:gd name="connsiteX2" fmla="*/ 1789247 w 1789247"/>
              <a:gd name="connsiteY2" fmla="*/ 420731 h 1487076"/>
              <a:gd name="connsiteX3" fmla="*/ 29855 w 1789247"/>
              <a:gd name="connsiteY3" fmla="*/ 1487076 h 1487076"/>
              <a:gd name="connsiteX4" fmla="*/ 0 w 1789247"/>
              <a:gd name="connsiteY4" fmla="*/ 799774 h 1487076"/>
              <a:gd name="connsiteX0" fmla="*/ 465 w 1763148"/>
              <a:gd name="connsiteY0" fmla="*/ 790993 h 1487076"/>
              <a:gd name="connsiteX1" fmla="*/ 1510079 w 1763148"/>
              <a:gd name="connsiteY1" fmla="*/ 0 h 1487076"/>
              <a:gd name="connsiteX2" fmla="*/ 1763148 w 1763148"/>
              <a:gd name="connsiteY2" fmla="*/ 420731 h 1487076"/>
              <a:gd name="connsiteX3" fmla="*/ 3756 w 1763148"/>
              <a:gd name="connsiteY3" fmla="*/ 1487076 h 1487076"/>
              <a:gd name="connsiteX4" fmla="*/ 465 w 1763148"/>
              <a:gd name="connsiteY4" fmla="*/ 790993 h 1487076"/>
              <a:gd name="connsiteX0" fmla="*/ 2280 w 1764963"/>
              <a:gd name="connsiteY0" fmla="*/ 790993 h 1487076"/>
              <a:gd name="connsiteX1" fmla="*/ 1511894 w 1764963"/>
              <a:gd name="connsiteY1" fmla="*/ 0 h 1487076"/>
              <a:gd name="connsiteX2" fmla="*/ 1764963 w 1764963"/>
              <a:gd name="connsiteY2" fmla="*/ 420731 h 1487076"/>
              <a:gd name="connsiteX3" fmla="*/ 5571 w 1764963"/>
              <a:gd name="connsiteY3" fmla="*/ 1487076 h 1487076"/>
              <a:gd name="connsiteX4" fmla="*/ 2280 w 1764963"/>
              <a:gd name="connsiteY4" fmla="*/ 790993 h 1487076"/>
              <a:gd name="connsiteX0" fmla="*/ 264 w 1762947"/>
              <a:gd name="connsiteY0" fmla="*/ 790993 h 1487076"/>
              <a:gd name="connsiteX1" fmla="*/ 1509878 w 1762947"/>
              <a:gd name="connsiteY1" fmla="*/ 0 h 1487076"/>
              <a:gd name="connsiteX2" fmla="*/ 1762947 w 1762947"/>
              <a:gd name="connsiteY2" fmla="*/ 420731 h 1487076"/>
              <a:gd name="connsiteX3" fmla="*/ 3555 w 1762947"/>
              <a:gd name="connsiteY3" fmla="*/ 1487076 h 1487076"/>
              <a:gd name="connsiteX4" fmla="*/ 264 w 1762947"/>
              <a:gd name="connsiteY4" fmla="*/ 790993 h 1487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947" h="1487076">
                <a:moveTo>
                  <a:pt x="264" y="790993"/>
                </a:moveTo>
                <a:lnTo>
                  <a:pt x="1509878" y="0"/>
                </a:lnTo>
                <a:lnTo>
                  <a:pt x="1762947" y="420731"/>
                </a:lnTo>
                <a:lnTo>
                  <a:pt x="3555" y="1487076"/>
                </a:lnTo>
                <a:cubicBezTo>
                  <a:pt x="983" y="1127063"/>
                  <a:pt x="-669" y="1020958"/>
                  <a:pt x="264" y="790993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20251748-5E3C-7ACE-C0C7-A2679FB93293}"/>
              </a:ext>
            </a:extLst>
          </p:cNvPr>
          <p:cNvSpPr/>
          <p:nvPr/>
        </p:nvSpPr>
        <p:spPr>
          <a:xfrm flipH="1">
            <a:off x="3544804" y="4561207"/>
            <a:ext cx="2608484" cy="1606538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3175 w 1316947"/>
              <a:gd name="connsiteY0" fmla="*/ 139700 h 692150"/>
              <a:gd name="connsiteX1" fmla="*/ 817351 w 1316947"/>
              <a:gd name="connsiteY1" fmla="*/ 0 h 692150"/>
              <a:gd name="connsiteX2" fmla="*/ 1316947 w 1316947"/>
              <a:gd name="connsiteY2" fmla="*/ 463550 h 692150"/>
              <a:gd name="connsiteX3" fmla="*/ 0 w 1316947"/>
              <a:gd name="connsiteY3" fmla="*/ 692150 h 692150"/>
              <a:gd name="connsiteX4" fmla="*/ 3175 w 1316947"/>
              <a:gd name="connsiteY4" fmla="*/ 139700 h 692150"/>
              <a:gd name="connsiteX0" fmla="*/ 3175 w 840003"/>
              <a:gd name="connsiteY0" fmla="*/ 139700 h 692150"/>
              <a:gd name="connsiteX1" fmla="*/ 817351 w 840003"/>
              <a:gd name="connsiteY1" fmla="*/ 0 h 692150"/>
              <a:gd name="connsiteX2" fmla="*/ 840003 w 840003"/>
              <a:gd name="connsiteY2" fmla="*/ 368300 h 692150"/>
              <a:gd name="connsiteX3" fmla="*/ 0 w 840003"/>
              <a:gd name="connsiteY3" fmla="*/ 692150 h 692150"/>
              <a:gd name="connsiteX4" fmla="*/ 3175 w 840003"/>
              <a:gd name="connsiteY4" fmla="*/ 139700 h 692150"/>
              <a:gd name="connsiteX0" fmla="*/ 3175 w 1123444"/>
              <a:gd name="connsiteY0" fmla="*/ 139700 h 692150"/>
              <a:gd name="connsiteX1" fmla="*/ 817351 w 1123444"/>
              <a:gd name="connsiteY1" fmla="*/ 0 h 692150"/>
              <a:gd name="connsiteX2" fmla="*/ 1123444 w 1123444"/>
              <a:gd name="connsiteY2" fmla="*/ 428625 h 692150"/>
              <a:gd name="connsiteX3" fmla="*/ 0 w 1123444"/>
              <a:gd name="connsiteY3" fmla="*/ 692150 h 692150"/>
              <a:gd name="connsiteX4" fmla="*/ 3175 w 1123444"/>
              <a:gd name="connsiteY4" fmla="*/ 139700 h 692150"/>
              <a:gd name="connsiteX0" fmla="*/ 65 w 1120334"/>
              <a:gd name="connsiteY0" fmla="*/ 139700 h 802569"/>
              <a:gd name="connsiteX1" fmla="*/ 814241 w 1120334"/>
              <a:gd name="connsiteY1" fmla="*/ 0 h 802569"/>
              <a:gd name="connsiteX2" fmla="*/ 1120334 w 1120334"/>
              <a:gd name="connsiteY2" fmla="*/ 428625 h 802569"/>
              <a:gd name="connsiteX3" fmla="*/ 10319 w 1120334"/>
              <a:gd name="connsiteY3" fmla="*/ 802569 h 802569"/>
              <a:gd name="connsiteX4" fmla="*/ 65 w 1120334"/>
              <a:gd name="connsiteY4" fmla="*/ 139700 h 802569"/>
              <a:gd name="connsiteX0" fmla="*/ 87 w 1116998"/>
              <a:gd name="connsiteY0" fmla="*/ 265177 h 802569"/>
              <a:gd name="connsiteX1" fmla="*/ 810905 w 1116998"/>
              <a:gd name="connsiteY1" fmla="*/ 0 h 802569"/>
              <a:gd name="connsiteX2" fmla="*/ 1116998 w 1116998"/>
              <a:gd name="connsiteY2" fmla="*/ 428625 h 802569"/>
              <a:gd name="connsiteX3" fmla="*/ 6983 w 1116998"/>
              <a:gd name="connsiteY3" fmla="*/ 802569 h 802569"/>
              <a:gd name="connsiteX4" fmla="*/ 87 w 1116998"/>
              <a:gd name="connsiteY4" fmla="*/ 265177 h 802569"/>
              <a:gd name="connsiteX0" fmla="*/ 51 w 1123677"/>
              <a:gd name="connsiteY0" fmla="*/ 260158 h 802569"/>
              <a:gd name="connsiteX1" fmla="*/ 817584 w 1123677"/>
              <a:gd name="connsiteY1" fmla="*/ 0 h 802569"/>
              <a:gd name="connsiteX2" fmla="*/ 1123677 w 1123677"/>
              <a:gd name="connsiteY2" fmla="*/ 428625 h 802569"/>
              <a:gd name="connsiteX3" fmla="*/ 13662 w 1123677"/>
              <a:gd name="connsiteY3" fmla="*/ 802569 h 802569"/>
              <a:gd name="connsiteX4" fmla="*/ 51 w 1123677"/>
              <a:gd name="connsiteY4" fmla="*/ 260158 h 802569"/>
              <a:gd name="connsiteX0" fmla="*/ 64 w 1123690"/>
              <a:gd name="connsiteY0" fmla="*/ 260158 h 812607"/>
              <a:gd name="connsiteX1" fmla="*/ 817597 w 1123690"/>
              <a:gd name="connsiteY1" fmla="*/ 0 h 812607"/>
              <a:gd name="connsiteX2" fmla="*/ 1123690 w 1123690"/>
              <a:gd name="connsiteY2" fmla="*/ 428625 h 812607"/>
              <a:gd name="connsiteX3" fmla="*/ 10318 w 1123690"/>
              <a:gd name="connsiteY3" fmla="*/ 812607 h 812607"/>
              <a:gd name="connsiteX4" fmla="*/ 64 w 1123690"/>
              <a:gd name="connsiteY4" fmla="*/ 260158 h 812607"/>
              <a:gd name="connsiteX0" fmla="*/ 64 w 1012898"/>
              <a:gd name="connsiteY0" fmla="*/ 260158 h 812607"/>
              <a:gd name="connsiteX1" fmla="*/ 817597 w 1012898"/>
              <a:gd name="connsiteY1" fmla="*/ 0 h 812607"/>
              <a:gd name="connsiteX2" fmla="*/ 1012898 w 1012898"/>
              <a:gd name="connsiteY2" fmla="*/ 378435 h 812607"/>
              <a:gd name="connsiteX3" fmla="*/ 10318 w 1012898"/>
              <a:gd name="connsiteY3" fmla="*/ 812607 h 812607"/>
              <a:gd name="connsiteX4" fmla="*/ 64 w 1012898"/>
              <a:gd name="connsiteY4" fmla="*/ 260158 h 812607"/>
              <a:gd name="connsiteX0" fmla="*/ 64 w 1036400"/>
              <a:gd name="connsiteY0" fmla="*/ 260158 h 812607"/>
              <a:gd name="connsiteX1" fmla="*/ 817597 w 1036400"/>
              <a:gd name="connsiteY1" fmla="*/ 0 h 812607"/>
              <a:gd name="connsiteX2" fmla="*/ 1036400 w 1036400"/>
              <a:gd name="connsiteY2" fmla="*/ 368397 h 812607"/>
              <a:gd name="connsiteX3" fmla="*/ 10318 w 1036400"/>
              <a:gd name="connsiteY3" fmla="*/ 812607 h 812607"/>
              <a:gd name="connsiteX4" fmla="*/ 64 w 1036400"/>
              <a:gd name="connsiteY4" fmla="*/ 260158 h 812607"/>
              <a:gd name="connsiteX0" fmla="*/ 86 w 1036422"/>
              <a:gd name="connsiteY0" fmla="*/ 260158 h 812607"/>
              <a:gd name="connsiteX1" fmla="*/ 817619 w 1036422"/>
              <a:gd name="connsiteY1" fmla="*/ 0 h 812607"/>
              <a:gd name="connsiteX2" fmla="*/ 1036422 w 1036422"/>
              <a:gd name="connsiteY2" fmla="*/ 368397 h 812607"/>
              <a:gd name="connsiteX3" fmla="*/ 6982 w 1036422"/>
              <a:gd name="connsiteY3" fmla="*/ 812607 h 812607"/>
              <a:gd name="connsiteX4" fmla="*/ 86 w 1036422"/>
              <a:gd name="connsiteY4" fmla="*/ 260158 h 812607"/>
              <a:gd name="connsiteX0" fmla="*/ 20165 w 1056501"/>
              <a:gd name="connsiteY0" fmla="*/ 260158 h 826501"/>
              <a:gd name="connsiteX1" fmla="*/ 837698 w 1056501"/>
              <a:gd name="connsiteY1" fmla="*/ 0 h 826501"/>
              <a:gd name="connsiteX2" fmla="*/ 1056501 w 1056501"/>
              <a:gd name="connsiteY2" fmla="*/ 368397 h 826501"/>
              <a:gd name="connsiteX3" fmla="*/ 0 w 1056501"/>
              <a:gd name="connsiteY3" fmla="*/ 826501 h 826501"/>
              <a:gd name="connsiteX4" fmla="*/ 20165 w 1056501"/>
              <a:gd name="connsiteY4" fmla="*/ 260158 h 826501"/>
              <a:gd name="connsiteX0" fmla="*/ 20165 w 1084260"/>
              <a:gd name="connsiteY0" fmla="*/ 510258 h 1076601"/>
              <a:gd name="connsiteX1" fmla="*/ 1084260 w 1084260"/>
              <a:gd name="connsiteY1" fmla="*/ 0 h 1076601"/>
              <a:gd name="connsiteX2" fmla="*/ 1056501 w 1084260"/>
              <a:gd name="connsiteY2" fmla="*/ 618497 h 1076601"/>
              <a:gd name="connsiteX3" fmla="*/ 0 w 1084260"/>
              <a:gd name="connsiteY3" fmla="*/ 1076601 h 1076601"/>
              <a:gd name="connsiteX4" fmla="*/ 20165 w 1084260"/>
              <a:gd name="connsiteY4" fmla="*/ 510258 h 1076601"/>
              <a:gd name="connsiteX0" fmla="*/ 20165 w 1279008"/>
              <a:gd name="connsiteY0" fmla="*/ 510258 h 1076601"/>
              <a:gd name="connsiteX1" fmla="*/ 1084260 w 1279008"/>
              <a:gd name="connsiteY1" fmla="*/ 0 h 1076601"/>
              <a:gd name="connsiteX2" fmla="*/ 1279008 w 1279008"/>
              <a:gd name="connsiteY2" fmla="*/ 377660 h 1076601"/>
              <a:gd name="connsiteX3" fmla="*/ 0 w 1279008"/>
              <a:gd name="connsiteY3" fmla="*/ 1076601 h 1076601"/>
              <a:gd name="connsiteX4" fmla="*/ 20165 w 1279008"/>
              <a:gd name="connsiteY4" fmla="*/ 510258 h 1076601"/>
              <a:gd name="connsiteX0" fmla="*/ 20165 w 1285021"/>
              <a:gd name="connsiteY0" fmla="*/ 510258 h 1076601"/>
              <a:gd name="connsiteX1" fmla="*/ 1084260 w 1285021"/>
              <a:gd name="connsiteY1" fmla="*/ 0 h 1076601"/>
              <a:gd name="connsiteX2" fmla="*/ 1285021 w 1285021"/>
              <a:gd name="connsiteY2" fmla="*/ 368396 h 1076601"/>
              <a:gd name="connsiteX3" fmla="*/ 0 w 1285021"/>
              <a:gd name="connsiteY3" fmla="*/ 1076601 h 1076601"/>
              <a:gd name="connsiteX4" fmla="*/ 20165 w 1285021"/>
              <a:gd name="connsiteY4" fmla="*/ 510258 h 1076601"/>
              <a:gd name="connsiteX0" fmla="*/ 13 w 1264869"/>
              <a:gd name="connsiteY0" fmla="*/ 510258 h 1095127"/>
              <a:gd name="connsiteX1" fmla="*/ 1064108 w 1264869"/>
              <a:gd name="connsiteY1" fmla="*/ 0 h 1095127"/>
              <a:gd name="connsiteX2" fmla="*/ 1264869 w 1264869"/>
              <a:gd name="connsiteY2" fmla="*/ 368396 h 1095127"/>
              <a:gd name="connsiteX3" fmla="*/ 64040 w 1264869"/>
              <a:gd name="connsiteY3" fmla="*/ 1095127 h 1095127"/>
              <a:gd name="connsiteX4" fmla="*/ 13 w 1264869"/>
              <a:gd name="connsiteY4" fmla="*/ 510258 h 1095127"/>
              <a:gd name="connsiteX0" fmla="*/ 2124 w 1266980"/>
              <a:gd name="connsiteY0" fmla="*/ 510258 h 1071969"/>
              <a:gd name="connsiteX1" fmla="*/ 1066219 w 1266980"/>
              <a:gd name="connsiteY1" fmla="*/ 0 h 1071969"/>
              <a:gd name="connsiteX2" fmla="*/ 1266980 w 1266980"/>
              <a:gd name="connsiteY2" fmla="*/ 368396 h 1071969"/>
              <a:gd name="connsiteX3" fmla="*/ 0 w 1266980"/>
              <a:gd name="connsiteY3" fmla="*/ 1071969 h 1071969"/>
              <a:gd name="connsiteX4" fmla="*/ 2124 w 1266980"/>
              <a:gd name="connsiteY4" fmla="*/ 510258 h 1071969"/>
              <a:gd name="connsiteX0" fmla="*/ 2124 w 1299641"/>
              <a:gd name="connsiteY0" fmla="*/ 813874 h 1375585"/>
              <a:gd name="connsiteX1" fmla="*/ 1299641 w 1299641"/>
              <a:gd name="connsiteY1" fmla="*/ 0 h 1375585"/>
              <a:gd name="connsiteX2" fmla="*/ 1266980 w 1299641"/>
              <a:gd name="connsiteY2" fmla="*/ 672012 h 1375585"/>
              <a:gd name="connsiteX3" fmla="*/ 0 w 1299641"/>
              <a:gd name="connsiteY3" fmla="*/ 1375585 h 1375585"/>
              <a:gd name="connsiteX4" fmla="*/ 2124 w 1299641"/>
              <a:gd name="connsiteY4" fmla="*/ 813874 h 1375585"/>
              <a:gd name="connsiteX0" fmla="*/ 2124 w 1544494"/>
              <a:gd name="connsiteY0" fmla="*/ 813874 h 1375585"/>
              <a:gd name="connsiteX1" fmla="*/ 1299641 w 1544494"/>
              <a:gd name="connsiteY1" fmla="*/ 0 h 1375585"/>
              <a:gd name="connsiteX2" fmla="*/ 1544494 w 1544494"/>
              <a:gd name="connsiteY2" fmla="*/ 428321 h 1375585"/>
              <a:gd name="connsiteX3" fmla="*/ 0 w 1544494"/>
              <a:gd name="connsiteY3" fmla="*/ 1375585 h 1375585"/>
              <a:gd name="connsiteX4" fmla="*/ 2124 w 1544494"/>
              <a:gd name="connsiteY4" fmla="*/ 813874 h 1375585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25466 w 1575617"/>
              <a:gd name="connsiteY0" fmla="*/ 82186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25466 w 1575617"/>
              <a:gd name="connsiteY4" fmla="*/ 821864 h 1491438"/>
              <a:gd name="connsiteX0" fmla="*/ 8364 w 1575617"/>
              <a:gd name="connsiteY0" fmla="*/ 8174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8364 w 1575617"/>
              <a:gd name="connsiteY4" fmla="*/ 817474 h 1491438"/>
              <a:gd name="connsiteX0" fmla="*/ 69388 w 1575617"/>
              <a:gd name="connsiteY0" fmla="*/ 826570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69388 w 1575617"/>
              <a:gd name="connsiteY4" fmla="*/ 826570 h 1491438"/>
              <a:gd name="connsiteX0" fmla="*/ 8364 w 1575617"/>
              <a:gd name="connsiteY0" fmla="*/ 808377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8364 w 1575617"/>
              <a:gd name="connsiteY4" fmla="*/ 808377 h 1491438"/>
              <a:gd name="connsiteX0" fmla="*/ 8364 w 1575617"/>
              <a:gd name="connsiteY0" fmla="*/ 808377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8364 w 1575617"/>
              <a:gd name="connsiteY4" fmla="*/ 808377 h 1491438"/>
              <a:gd name="connsiteX0" fmla="*/ 12301 w 1579554"/>
              <a:gd name="connsiteY0" fmla="*/ 808377 h 1494470"/>
              <a:gd name="connsiteX1" fmla="*/ 1334701 w 1579554"/>
              <a:gd name="connsiteY1" fmla="*/ 0 h 1494470"/>
              <a:gd name="connsiteX2" fmla="*/ 1579554 w 1579554"/>
              <a:gd name="connsiteY2" fmla="*/ 428321 h 1494470"/>
              <a:gd name="connsiteX3" fmla="*/ 0 w 1579554"/>
              <a:gd name="connsiteY3" fmla="*/ 1494470 h 1494470"/>
              <a:gd name="connsiteX4" fmla="*/ 12301 w 1579554"/>
              <a:gd name="connsiteY4" fmla="*/ 808377 h 1494470"/>
              <a:gd name="connsiteX0" fmla="*/ 12301 w 1579554"/>
              <a:gd name="connsiteY0" fmla="*/ 808377 h 1494470"/>
              <a:gd name="connsiteX1" fmla="*/ 1334701 w 1579554"/>
              <a:gd name="connsiteY1" fmla="*/ 0 h 1494470"/>
              <a:gd name="connsiteX2" fmla="*/ 1579554 w 1579554"/>
              <a:gd name="connsiteY2" fmla="*/ 428321 h 1494470"/>
              <a:gd name="connsiteX3" fmla="*/ 0 w 1579554"/>
              <a:gd name="connsiteY3" fmla="*/ 1494470 h 1494470"/>
              <a:gd name="connsiteX4" fmla="*/ 12301 w 1579554"/>
              <a:gd name="connsiteY4" fmla="*/ 808377 h 1494470"/>
              <a:gd name="connsiteX0" fmla="*/ 12301 w 1579554"/>
              <a:gd name="connsiteY0" fmla="*/ 808377 h 1494470"/>
              <a:gd name="connsiteX1" fmla="*/ 1334701 w 1579554"/>
              <a:gd name="connsiteY1" fmla="*/ 0 h 1494470"/>
              <a:gd name="connsiteX2" fmla="*/ 1579554 w 1579554"/>
              <a:gd name="connsiteY2" fmla="*/ 428321 h 1494470"/>
              <a:gd name="connsiteX3" fmla="*/ 0 w 1579554"/>
              <a:gd name="connsiteY3" fmla="*/ 1494470 h 1494470"/>
              <a:gd name="connsiteX4" fmla="*/ 12301 w 1579554"/>
              <a:gd name="connsiteY4" fmla="*/ 808377 h 1494470"/>
              <a:gd name="connsiteX0" fmla="*/ 12301 w 1579554"/>
              <a:gd name="connsiteY0" fmla="*/ 808377 h 1494470"/>
              <a:gd name="connsiteX1" fmla="*/ 1334701 w 1579554"/>
              <a:gd name="connsiteY1" fmla="*/ 0 h 1494470"/>
              <a:gd name="connsiteX2" fmla="*/ 1579554 w 1579554"/>
              <a:gd name="connsiteY2" fmla="*/ 428321 h 1494470"/>
              <a:gd name="connsiteX3" fmla="*/ 0 w 1579554"/>
              <a:gd name="connsiteY3" fmla="*/ 1494470 h 1494470"/>
              <a:gd name="connsiteX4" fmla="*/ 12301 w 1579554"/>
              <a:gd name="connsiteY4" fmla="*/ 808377 h 1494470"/>
              <a:gd name="connsiteX0" fmla="*/ 12301 w 1579554"/>
              <a:gd name="connsiteY0" fmla="*/ 808377 h 1494470"/>
              <a:gd name="connsiteX1" fmla="*/ 1334701 w 1579554"/>
              <a:gd name="connsiteY1" fmla="*/ 0 h 1494470"/>
              <a:gd name="connsiteX2" fmla="*/ 1579554 w 1579554"/>
              <a:gd name="connsiteY2" fmla="*/ 428321 h 1494470"/>
              <a:gd name="connsiteX3" fmla="*/ 0 w 1579554"/>
              <a:gd name="connsiteY3" fmla="*/ 1494470 h 1494470"/>
              <a:gd name="connsiteX4" fmla="*/ 12301 w 1579554"/>
              <a:gd name="connsiteY4" fmla="*/ 808377 h 1494470"/>
              <a:gd name="connsiteX0" fmla="*/ 1373 w 1568626"/>
              <a:gd name="connsiteY0" fmla="*/ 808377 h 1503566"/>
              <a:gd name="connsiteX1" fmla="*/ 1323773 w 1568626"/>
              <a:gd name="connsiteY1" fmla="*/ 0 h 1503566"/>
              <a:gd name="connsiteX2" fmla="*/ 1568626 w 1568626"/>
              <a:gd name="connsiteY2" fmla="*/ 428321 h 1503566"/>
              <a:gd name="connsiteX3" fmla="*/ 18600 w 1568626"/>
              <a:gd name="connsiteY3" fmla="*/ 1503566 h 1503566"/>
              <a:gd name="connsiteX4" fmla="*/ 1373 w 1568626"/>
              <a:gd name="connsiteY4" fmla="*/ 808377 h 1503566"/>
              <a:gd name="connsiteX0" fmla="*/ 4426 w 1571679"/>
              <a:gd name="connsiteY0" fmla="*/ 808377 h 1503566"/>
              <a:gd name="connsiteX1" fmla="*/ 1326826 w 1571679"/>
              <a:gd name="connsiteY1" fmla="*/ 0 h 1503566"/>
              <a:gd name="connsiteX2" fmla="*/ 1571679 w 1571679"/>
              <a:gd name="connsiteY2" fmla="*/ 428321 h 1503566"/>
              <a:gd name="connsiteX3" fmla="*/ 0 w 1571679"/>
              <a:gd name="connsiteY3" fmla="*/ 1503566 h 1503566"/>
              <a:gd name="connsiteX4" fmla="*/ 4426 w 1571679"/>
              <a:gd name="connsiteY4" fmla="*/ 808377 h 1503566"/>
              <a:gd name="connsiteX0" fmla="*/ 2176 w 1577918"/>
              <a:gd name="connsiteY0" fmla="*/ 808377 h 1503566"/>
              <a:gd name="connsiteX1" fmla="*/ 1333065 w 1577918"/>
              <a:gd name="connsiteY1" fmla="*/ 0 h 1503566"/>
              <a:gd name="connsiteX2" fmla="*/ 1577918 w 1577918"/>
              <a:gd name="connsiteY2" fmla="*/ 428321 h 1503566"/>
              <a:gd name="connsiteX3" fmla="*/ 6239 w 1577918"/>
              <a:gd name="connsiteY3" fmla="*/ 1503566 h 1503566"/>
              <a:gd name="connsiteX4" fmla="*/ 2176 w 1577918"/>
              <a:gd name="connsiteY4" fmla="*/ 808377 h 1503566"/>
              <a:gd name="connsiteX0" fmla="*/ 2176 w 1577918"/>
              <a:gd name="connsiteY0" fmla="*/ 808377 h 1494848"/>
              <a:gd name="connsiteX1" fmla="*/ 1333065 w 1577918"/>
              <a:gd name="connsiteY1" fmla="*/ 0 h 1494848"/>
              <a:gd name="connsiteX2" fmla="*/ 1577918 w 1577918"/>
              <a:gd name="connsiteY2" fmla="*/ 428321 h 1494848"/>
              <a:gd name="connsiteX3" fmla="*/ 6239 w 1577918"/>
              <a:gd name="connsiteY3" fmla="*/ 1494848 h 1494848"/>
              <a:gd name="connsiteX4" fmla="*/ 2176 w 1577918"/>
              <a:gd name="connsiteY4" fmla="*/ 808377 h 1494848"/>
              <a:gd name="connsiteX0" fmla="*/ 2176 w 1577918"/>
              <a:gd name="connsiteY0" fmla="*/ 808377 h 1494848"/>
              <a:gd name="connsiteX1" fmla="*/ 1333065 w 1577918"/>
              <a:gd name="connsiteY1" fmla="*/ 0 h 1494848"/>
              <a:gd name="connsiteX2" fmla="*/ 1577918 w 1577918"/>
              <a:gd name="connsiteY2" fmla="*/ 428321 h 1494848"/>
              <a:gd name="connsiteX3" fmla="*/ 6239 w 1577918"/>
              <a:gd name="connsiteY3" fmla="*/ 1494848 h 1494848"/>
              <a:gd name="connsiteX4" fmla="*/ 2176 w 1577918"/>
              <a:gd name="connsiteY4" fmla="*/ 808377 h 1494848"/>
              <a:gd name="connsiteX0" fmla="*/ 6418 w 1582160"/>
              <a:gd name="connsiteY0" fmla="*/ 808377 h 1494848"/>
              <a:gd name="connsiteX1" fmla="*/ 1337307 w 1582160"/>
              <a:gd name="connsiteY1" fmla="*/ 0 h 1494848"/>
              <a:gd name="connsiteX2" fmla="*/ 1582160 w 1582160"/>
              <a:gd name="connsiteY2" fmla="*/ 428321 h 1494848"/>
              <a:gd name="connsiteX3" fmla="*/ 10481 w 1582160"/>
              <a:gd name="connsiteY3" fmla="*/ 1494848 h 1494848"/>
              <a:gd name="connsiteX4" fmla="*/ 6418 w 1582160"/>
              <a:gd name="connsiteY4" fmla="*/ 808377 h 1494848"/>
              <a:gd name="connsiteX0" fmla="*/ 3866 w 1579608"/>
              <a:gd name="connsiteY0" fmla="*/ 808377 h 1494848"/>
              <a:gd name="connsiteX1" fmla="*/ 1334755 w 1579608"/>
              <a:gd name="connsiteY1" fmla="*/ 0 h 1494848"/>
              <a:gd name="connsiteX2" fmla="*/ 1579608 w 1579608"/>
              <a:gd name="connsiteY2" fmla="*/ 428321 h 1494848"/>
              <a:gd name="connsiteX3" fmla="*/ 7929 w 1579608"/>
              <a:gd name="connsiteY3" fmla="*/ 1494848 h 1494848"/>
              <a:gd name="connsiteX4" fmla="*/ 3866 w 1579608"/>
              <a:gd name="connsiteY4" fmla="*/ 808377 h 1494848"/>
              <a:gd name="connsiteX0" fmla="*/ 0 w 1575742"/>
              <a:gd name="connsiteY0" fmla="*/ 808377 h 1494848"/>
              <a:gd name="connsiteX1" fmla="*/ 1330889 w 1575742"/>
              <a:gd name="connsiteY1" fmla="*/ 0 h 1494848"/>
              <a:gd name="connsiteX2" fmla="*/ 1575742 w 1575742"/>
              <a:gd name="connsiteY2" fmla="*/ 428321 h 1494848"/>
              <a:gd name="connsiteX3" fmla="*/ 4063 w 1575742"/>
              <a:gd name="connsiteY3" fmla="*/ 1494848 h 1494848"/>
              <a:gd name="connsiteX4" fmla="*/ 0 w 1575742"/>
              <a:gd name="connsiteY4" fmla="*/ 808377 h 1494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5742" h="1494848">
                <a:moveTo>
                  <a:pt x="0" y="808377"/>
                </a:moveTo>
                <a:lnTo>
                  <a:pt x="1330889" y="0"/>
                </a:lnTo>
                <a:lnTo>
                  <a:pt x="1575742" y="428321"/>
                </a:lnTo>
                <a:lnTo>
                  <a:pt x="4063" y="1494848"/>
                </a:lnTo>
                <a:cubicBezTo>
                  <a:pt x="-1822" y="1133670"/>
                  <a:pt x="3200" y="1166618"/>
                  <a:pt x="0" y="808377"/>
                </a:cubicBezTo>
                <a:close/>
              </a:path>
            </a:pathLst>
          </a:custGeom>
          <a:solidFill>
            <a:srgbClr val="4397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9803547F-3AC0-2072-2E2E-C9ED02AB3A90}"/>
              </a:ext>
            </a:extLst>
          </p:cNvPr>
          <p:cNvSpPr/>
          <p:nvPr/>
        </p:nvSpPr>
        <p:spPr>
          <a:xfrm>
            <a:off x="6127259" y="4093908"/>
            <a:ext cx="2080727" cy="1154011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7086 w 1316947"/>
              <a:gd name="connsiteY0" fmla="*/ 224719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7086 w 1316947"/>
              <a:gd name="connsiteY4" fmla="*/ 224719 h 666750"/>
              <a:gd name="connsiteX0" fmla="*/ 3175 w 1313036"/>
              <a:gd name="connsiteY0" fmla="*/ 224719 h 777169"/>
              <a:gd name="connsiteX1" fmla="*/ 960611 w 1313036"/>
              <a:gd name="connsiteY1" fmla="*/ 0 h 777169"/>
              <a:gd name="connsiteX2" fmla="*/ 1313036 w 1313036"/>
              <a:gd name="connsiteY2" fmla="*/ 438150 h 777169"/>
              <a:gd name="connsiteX3" fmla="*/ 0 w 1313036"/>
              <a:gd name="connsiteY3" fmla="*/ 777169 h 777169"/>
              <a:gd name="connsiteX4" fmla="*/ 3175 w 1313036"/>
              <a:gd name="connsiteY4" fmla="*/ 224719 h 777169"/>
              <a:gd name="connsiteX0" fmla="*/ 3175 w 1219167"/>
              <a:gd name="connsiteY0" fmla="*/ 224719 h 777169"/>
              <a:gd name="connsiteX1" fmla="*/ 960611 w 1219167"/>
              <a:gd name="connsiteY1" fmla="*/ 0 h 777169"/>
              <a:gd name="connsiteX2" fmla="*/ 1219167 w 1219167"/>
              <a:gd name="connsiteY2" fmla="*/ 418074 h 777169"/>
              <a:gd name="connsiteX3" fmla="*/ 0 w 1219167"/>
              <a:gd name="connsiteY3" fmla="*/ 777169 h 777169"/>
              <a:gd name="connsiteX4" fmla="*/ 3175 w 1219167"/>
              <a:gd name="connsiteY4" fmla="*/ 224719 h 777169"/>
              <a:gd name="connsiteX0" fmla="*/ 3175 w 1168321"/>
              <a:gd name="connsiteY0" fmla="*/ 224719 h 777169"/>
              <a:gd name="connsiteX1" fmla="*/ 960611 w 1168321"/>
              <a:gd name="connsiteY1" fmla="*/ 0 h 777169"/>
              <a:gd name="connsiteX2" fmla="*/ 1168321 w 1168321"/>
              <a:gd name="connsiteY2" fmla="*/ 337769 h 777169"/>
              <a:gd name="connsiteX3" fmla="*/ 0 w 1168321"/>
              <a:gd name="connsiteY3" fmla="*/ 777169 h 777169"/>
              <a:gd name="connsiteX4" fmla="*/ 3175 w 1168321"/>
              <a:gd name="connsiteY4" fmla="*/ 224719 h 777169"/>
              <a:gd name="connsiteX0" fmla="*/ 3175 w 1203522"/>
              <a:gd name="connsiteY0" fmla="*/ 224719 h 777169"/>
              <a:gd name="connsiteX1" fmla="*/ 960611 w 1203522"/>
              <a:gd name="connsiteY1" fmla="*/ 0 h 777169"/>
              <a:gd name="connsiteX2" fmla="*/ 1203522 w 1203522"/>
              <a:gd name="connsiteY2" fmla="*/ 387960 h 777169"/>
              <a:gd name="connsiteX3" fmla="*/ 0 w 1203522"/>
              <a:gd name="connsiteY3" fmla="*/ 777169 h 777169"/>
              <a:gd name="connsiteX4" fmla="*/ 3175 w 1203522"/>
              <a:gd name="connsiteY4" fmla="*/ 224719 h 777169"/>
              <a:gd name="connsiteX0" fmla="*/ 9 w 1200356"/>
              <a:gd name="connsiteY0" fmla="*/ 224719 h 636636"/>
              <a:gd name="connsiteX1" fmla="*/ 957445 w 1200356"/>
              <a:gd name="connsiteY1" fmla="*/ 0 h 636636"/>
              <a:gd name="connsiteX2" fmla="*/ 1200356 w 1200356"/>
              <a:gd name="connsiteY2" fmla="*/ 387960 h 636636"/>
              <a:gd name="connsiteX3" fmla="*/ 90703 w 1200356"/>
              <a:gd name="connsiteY3" fmla="*/ 636636 h 636636"/>
              <a:gd name="connsiteX4" fmla="*/ 9 w 1200356"/>
              <a:gd name="connsiteY4" fmla="*/ 224719 h 636636"/>
              <a:gd name="connsiteX0" fmla="*/ 239 w 1200586"/>
              <a:gd name="connsiteY0" fmla="*/ 224719 h 762112"/>
              <a:gd name="connsiteX1" fmla="*/ 957675 w 1200586"/>
              <a:gd name="connsiteY1" fmla="*/ 0 h 762112"/>
              <a:gd name="connsiteX2" fmla="*/ 1200586 w 1200586"/>
              <a:gd name="connsiteY2" fmla="*/ 387960 h 762112"/>
              <a:gd name="connsiteX3" fmla="*/ 975 w 1200586"/>
              <a:gd name="connsiteY3" fmla="*/ 762112 h 762112"/>
              <a:gd name="connsiteX4" fmla="*/ 239 w 1200586"/>
              <a:gd name="connsiteY4" fmla="*/ 224719 h 762112"/>
              <a:gd name="connsiteX0" fmla="*/ 30790 w 1199611"/>
              <a:gd name="connsiteY0" fmla="*/ 305630 h 762112"/>
              <a:gd name="connsiteX1" fmla="*/ 956700 w 1199611"/>
              <a:gd name="connsiteY1" fmla="*/ 0 h 762112"/>
              <a:gd name="connsiteX2" fmla="*/ 1199611 w 1199611"/>
              <a:gd name="connsiteY2" fmla="*/ 387960 h 762112"/>
              <a:gd name="connsiteX3" fmla="*/ 0 w 1199611"/>
              <a:gd name="connsiteY3" fmla="*/ 762112 h 762112"/>
              <a:gd name="connsiteX4" fmla="*/ 30790 w 1199611"/>
              <a:gd name="connsiteY4" fmla="*/ 305630 h 762112"/>
              <a:gd name="connsiteX0" fmla="*/ 79 w 1207432"/>
              <a:gd name="connsiteY0" fmla="*/ 242700 h 762112"/>
              <a:gd name="connsiteX1" fmla="*/ 964521 w 1207432"/>
              <a:gd name="connsiteY1" fmla="*/ 0 h 762112"/>
              <a:gd name="connsiteX2" fmla="*/ 1207432 w 1207432"/>
              <a:gd name="connsiteY2" fmla="*/ 387960 h 762112"/>
              <a:gd name="connsiteX3" fmla="*/ 7821 w 1207432"/>
              <a:gd name="connsiteY3" fmla="*/ 762112 h 762112"/>
              <a:gd name="connsiteX4" fmla="*/ 79 w 1207432"/>
              <a:gd name="connsiteY4" fmla="*/ 242700 h 762112"/>
              <a:gd name="connsiteX0" fmla="*/ 119 w 1207472"/>
              <a:gd name="connsiteY0" fmla="*/ 242700 h 789082"/>
              <a:gd name="connsiteX1" fmla="*/ 964561 w 1207472"/>
              <a:gd name="connsiteY1" fmla="*/ 0 h 789082"/>
              <a:gd name="connsiteX2" fmla="*/ 1207472 w 1207472"/>
              <a:gd name="connsiteY2" fmla="*/ 387960 h 789082"/>
              <a:gd name="connsiteX3" fmla="*/ 4358 w 1207472"/>
              <a:gd name="connsiteY3" fmla="*/ 789082 h 789082"/>
              <a:gd name="connsiteX4" fmla="*/ 119 w 1207472"/>
              <a:gd name="connsiteY4" fmla="*/ 242700 h 789082"/>
              <a:gd name="connsiteX0" fmla="*/ 119 w 1272816"/>
              <a:gd name="connsiteY0" fmla="*/ 502064 h 1048446"/>
              <a:gd name="connsiteX1" fmla="*/ 1272816 w 1272816"/>
              <a:gd name="connsiteY1" fmla="*/ 0 h 1048446"/>
              <a:gd name="connsiteX2" fmla="*/ 1207472 w 1272816"/>
              <a:gd name="connsiteY2" fmla="*/ 647324 h 1048446"/>
              <a:gd name="connsiteX3" fmla="*/ 4358 w 1272816"/>
              <a:gd name="connsiteY3" fmla="*/ 1048446 h 1048446"/>
              <a:gd name="connsiteX4" fmla="*/ 119 w 1272816"/>
              <a:gd name="connsiteY4" fmla="*/ 502064 h 1048446"/>
              <a:gd name="connsiteX0" fmla="*/ 119 w 1501714"/>
              <a:gd name="connsiteY0" fmla="*/ 502064 h 1048446"/>
              <a:gd name="connsiteX1" fmla="*/ 1272816 w 1501714"/>
              <a:gd name="connsiteY1" fmla="*/ 0 h 1048446"/>
              <a:gd name="connsiteX2" fmla="*/ 1501714 w 1501714"/>
              <a:gd name="connsiteY2" fmla="*/ 364803 h 1048446"/>
              <a:gd name="connsiteX3" fmla="*/ 4358 w 1501714"/>
              <a:gd name="connsiteY3" fmla="*/ 1048446 h 1048446"/>
              <a:gd name="connsiteX4" fmla="*/ 119 w 1501714"/>
              <a:gd name="connsiteY4" fmla="*/ 502064 h 1048446"/>
              <a:gd name="connsiteX0" fmla="*/ 24 w 1501619"/>
              <a:gd name="connsiteY0" fmla="*/ 502064 h 1071604"/>
              <a:gd name="connsiteX1" fmla="*/ 1272721 w 1501619"/>
              <a:gd name="connsiteY1" fmla="*/ 0 h 1071604"/>
              <a:gd name="connsiteX2" fmla="*/ 1501619 w 1501619"/>
              <a:gd name="connsiteY2" fmla="*/ 364803 h 1071604"/>
              <a:gd name="connsiteX3" fmla="*/ 32286 w 1501619"/>
              <a:gd name="connsiteY3" fmla="*/ 1071604 h 1071604"/>
              <a:gd name="connsiteX4" fmla="*/ 24 w 1501619"/>
              <a:gd name="connsiteY4" fmla="*/ 502064 h 1071604"/>
              <a:gd name="connsiteX0" fmla="*/ 48 w 1484129"/>
              <a:gd name="connsiteY0" fmla="*/ 488169 h 1071604"/>
              <a:gd name="connsiteX1" fmla="*/ 1255231 w 1484129"/>
              <a:gd name="connsiteY1" fmla="*/ 0 h 1071604"/>
              <a:gd name="connsiteX2" fmla="*/ 1484129 w 1484129"/>
              <a:gd name="connsiteY2" fmla="*/ 364803 h 1071604"/>
              <a:gd name="connsiteX3" fmla="*/ 14796 w 1484129"/>
              <a:gd name="connsiteY3" fmla="*/ 1071604 h 1071604"/>
              <a:gd name="connsiteX4" fmla="*/ 48 w 1484129"/>
              <a:gd name="connsiteY4" fmla="*/ 488169 h 1071604"/>
              <a:gd name="connsiteX0" fmla="*/ 0 w 1484081"/>
              <a:gd name="connsiteY0" fmla="*/ 488169 h 1071604"/>
              <a:gd name="connsiteX1" fmla="*/ 1255183 w 1484081"/>
              <a:gd name="connsiteY1" fmla="*/ 0 h 1071604"/>
              <a:gd name="connsiteX2" fmla="*/ 1484081 w 1484081"/>
              <a:gd name="connsiteY2" fmla="*/ 364803 h 1071604"/>
              <a:gd name="connsiteX3" fmla="*/ 14748 w 1484081"/>
              <a:gd name="connsiteY3" fmla="*/ 1071604 h 1071604"/>
              <a:gd name="connsiteX4" fmla="*/ 0 w 1484081"/>
              <a:gd name="connsiteY4" fmla="*/ 488169 h 1071604"/>
              <a:gd name="connsiteX0" fmla="*/ 0 w 1484081"/>
              <a:gd name="connsiteY0" fmla="*/ 488169 h 1071604"/>
              <a:gd name="connsiteX1" fmla="*/ 1255183 w 1484081"/>
              <a:gd name="connsiteY1" fmla="*/ 0 h 1071604"/>
              <a:gd name="connsiteX2" fmla="*/ 1484081 w 1484081"/>
              <a:gd name="connsiteY2" fmla="*/ 364803 h 1071604"/>
              <a:gd name="connsiteX3" fmla="*/ 14748 w 1484081"/>
              <a:gd name="connsiteY3" fmla="*/ 1071604 h 1071604"/>
              <a:gd name="connsiteX4" fmla="*/ 0 w 1484081"/>
              <a:gd name="connsiteY4" fmla="*/ 488169 h 1071604"/>
              <a:gd name="connsiteX0" fmla="*/ 3456 w 1487537"/>
              <a:gd name="connsiteY0" fmla="*/ 488169 h 1087584"/>
              <a:gd name="connsiteX1" fmla="*/ 1258639 w 1487537"/>
              <a:gd name="connsiteY1" fmla="*/ 0 h 1087584"/>
              <a:gd name="connsiteX2" fmla="*/ 1487537 w 1487537"/>
              <a:gd name="connsiteY2" fmla="*/ 364803 h 1087584"/>
              <a:gd name="connsiteX3" fmla="*/ 3097 w 1487537"/>
              <a:gd name="connsiteY3" fmla="*/ 1087584 h 1087584"/>
              <a:gd name="connsiteX4" fmla="*/ 3456 w 1487537"/>
              <a:gd name="connsiteY4" fmla="*/ 488169 h 1087584"/>
              <a:gd name="connsiteX0" fmla="*/ 359 w 1484440"/>
              <a:gd name="connsiteY0" fmla="*/ 488169 h 1087584"/>
              <a:gd name="connsiteX1" fmla="*/ 1255542 w 1484440"/>
              <a:gd name="connsiteY1" fmla="*/ 0 h 1087584"/>
              <a:gd name="connsiteX2" fmla="*/ 1484440 w 1484440"/>
              <a:gd name="connsiteY2" fmla="*/ 364803 h 1087584"/>
              <a:gd name="connsiteX3" fmla="*/ 0 w 1484440"/>
              <a:gd name="connsiteY3" fmla="*/ 1087584 h 1087584"/>
              <a:gd name="connsiteX4" fmla="*/ 359 w 1484440"/>
              <a:gd name="connsiteY4" fmla="*/ 488169 h 1087584"/>
              <a:gd name="connsiteX0" fmla="*/ 0 w 1493145"/>
              <a:gd name="connsiteY0" fmla="*/ 500154 h 1087584"/>
              <a:gd name="connsiteX1" fmla="*/ 1264247 w 1493145"/>
              <a:gd name="connsiteY1" fmla="*/ 0 h 1087584"/>
              <a:gd name="connsiteX2" fmla="*/ 1493145 w 1493145"/>
              <a:gd name="connsiteY2" fmla="*/ 364803 h 1087584"/>
              <a:gd name="connsiteX3" fmla="*/ 8705 w 1493145"/>
              <a:gd name="connsiteY3" fmla="*/ 1087584 h 1087584"/>
              <a:gd name="connsiteX4" fmla="*/ 0 w 1493145"/>
              <a:gd name="connsiteY4" fmla="*/ 500154 h 1087584"/>
              <a:gd name="connsiteX0" fmla="*/ 0 w 1493145"/>
              <a:gd name="connsiteY0" fmla="*/ 500154 h 1091975"/>
              <a:gd name="connsiteX1" fmla="*/ 1264247 w 1493145"/>
              <a:gd name="connsiteY1" fmla="*/ 0 h 1091975"/>
              <a:gd name="connsiteX2" fmla="*/ 1493145 w 1493145"/>
              <a:gd name="connsiteY2" fmla="*/ 364803 h 1091975"/>
              <a:gd name="connsiteX3" fmla="*/ 31948 w 1493145"/>
              <a:gd name="connsiteY3" fmla="*/ 1091975 h 1091975"/>
              <a:gd name="connsiteX4" fmla="*/ 0 w 1493145"/>
              <a:gd name="connsiteY4" fmla="*/ 500154 h 1091975"/>
              <a:gd name="connsiteX0" fmla="*/ 0 w 1466581"/>
              <a:gd name="connsiteY0" fmla="*/ 491373 h 1091975"/>
              <a:gd name="connsiteX1" fmla="*/ 1237683 w 1466581"/>
              <a:gd name="connsiteY1" fmla="*/ 0 h 1091975"/>
              <a:gd name="connsiteX2" fmla="*/ 1466581 w 1466581"/>
              <a:gd name="connsiteY2" fmla="*/ 364803 h 1091975"/>
              <a:gd name="connsiteX3" fmla="*/ 5384 w 1466581"/>
              <a:gd name="connsiteY3" fmla="*/ 1091975 h 1091975"/>
              <a:gd name="connsiteX4" fmla="*/ 0 w 1466581"/>
              <a:gd name="connsiteY4" fmla="*/ 491373 h 1091975"/>
              <a:gd name="connsiteX0" fmla="*/ 24428 w 1461197"/>
              <a:gd name="connsiteY0" fmla="*/ 494405 h 1091975"/>
              <a:gd name="connsiteX1" fmla="*/ 1232299 w 1461197"/>
              <a:gd name="connsiteY1" fmla="*/ 0 h 1091975"/>
              <a:gd name="connsiteX2" fmla="*/ 1461197 w 1461197"/>
              <a:gd name="connsiteY2" fmla="*/ 364803 h 1091975"/>
              <a:gd name="connsiteX3" fmla="*/ 0 w 1461197"/>
              <a:gd name="connsiteY3" fmla="*/ 1091975 h 1091975"/>
              <a:gd name="connsiteX4" fmla="*/ 24428 w 1461197"/>
              <a:gd name="connsiteY4" fmla="*/ 494405 h 1091975"/>
              <a:gd name="connsiteX0" fmla="*/ 1495 w 1461197"/>
              <a:gd name="connsiteY0" fmla="*/ 494405 h 1091975"/>
              <a:gd name="connsiteX1" fmla="*/ 1232299 w 1461197"/>
              <a:gd name="connsiteY1" fmla="*/ 0 h 1091975"/>
              <a:gd name="connsiteX2" fmla="*/ 1461197 w 1461197"/>
              <a:gd name="connsiteY2" fmla="*/ 364803 h 1091975"/>
              <a:gd name="connsiteX3" fmla="*/ 0 w 1461197"/>
              <a:gd name="connsiteY3" fmla="*/ 1091975 h 1091975"/>
              <a:gd name="connsiteX4" fmla="*/ 1495 w 1461197"/>
              <a:gd name="connsiteY4" fmla="*/ 494405 h 1091975"/>
              <a:gd name="connsiteX0" fmla="*/ 1495 w 1461197"/>
              <a:gd name="connsiteY0" fmla="*/ 494405 h 1091975"/>
              <a:gd name="connsiteX1" fmla="*/ 1232299 w 1461197"/>
              <a:gd name="connsiteY1" fmla="*/ 0 h 1091975"/>
              <a:gd name="connsiteX2" fmla="*/ 1461197 w 1461197"/>
              <a:gd name="connsiteY2" fmla="*/ 364803 h 1091975"/>
              <a:gd name="connsiteX3" fmla="*/ 0 w 1461197"/>
              <a:gd name="connsiteY3" fmla="*/ 1091975 h 1091975"/>
              <a:gd name="connsiteX4" fmla="*/ 1495 w 1461197"/>
              <a:gd name="connsiteY4" fmla="*/ 494405 h 1091975"/>
              <a:gd name="connsiteX0" fmla="*/ 3788 w 1463490"/>
              <a:gd name="connsiteY0" fmla="*/ 494405 h 1073782"/>
              <a:gd name="connsiteX1" fmla="*/ 1234592 w 1463490"/>
              <a:gd name="connsiteY1" fmla="*/ 0 h 1073782"/>
              <a:gd name="connsiteX2" fmla="*/ 1463490 w 1463490"/>
              <a:gd name="connsiteY2" fmla="*/ 364803 h 1073782"/>
              <a:gd name="connsiteX3" fmla="*/ 0 w 1463490"/>
              <a:gd name="connsiteY3" fmla="*/ 1073782 h 1073782"/>
              <a:gd name="connsiteX4" fmla="*/ 3788 w 1463490"/>
              <a:gd name="connsiteY4" fmla="*/ 494405 h 1073782"/>
              <a:gd name="connsiteX0" fmla="*/ 0 w 1464288"/>
              <a:gd name="connsiteY0" fmla="*/ 494405 h 1073782"/>
              <a:gd name="connsiteX1" fmla="*/ 1235390 w 1464288"/>
              <a:gd name="connsiteY1" fmla="*/ 0 h 1073782"/>
              <a:gd name="connsiteX2" fmla="*/ 1464288 w 1464288"/>
              <a:gd name="connsiteY2" fmla="*/ 364803 h 1073782"/>
              <a:gd name="connsiteX3" fmla="*/ 798 w 1464288"/>
              <a:gd name="connsiteY3" fmla="*/ 1073782 h 1073782"/>
              <a:gd name="connsiteX4" fmla="*/ 0 w 1464288"/>
              <a:gd name="connsiteY4" fmla="*/ 494405 h 1073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4288" h="1073782">
                <a:moveTo>
                  <a:pt x="0" y="494405"/>
                </a:moveTo>
                <a:lnTo>
                  <a:pt x="1235390" y="0"/>
                </a:lnTo>
                <a:lnTo>
                  <a:pt x="1464288" y="364803"/>
                </a:lnTo>
                <a:lnTo>
                  <a:pt x="798" y="1073782"/>
                </a:lnTo>
                <a:cubicBezTo>
                  <a:pt x="3432" y="869657"/>
                  <a:pt x="1360" y="766819"/>
                  <a:pt x="0" y="49440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22F22997-EDB4-8A6F-96E5-1E77524E7DC1}"/>
              </a:ext>
            </a:extLst>
          </p:cNvPr>
          <p:cNvSpPr/>
          <p:nvPr/>
        </p:nvSpPr>
        <p:spPr>
          <a:xfrm flipH="1">
            <a:off x="3998637" y="4076564"/>
            <a:ext cx="2136060" cy="1178859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3175 w 1316947"/>
              <a:gd name="connsiteY0" fmla="*/ 139700 h 692150"/>
              <a:gd name="connsiteX1" fmla="*/ 817351 w 1316947"/>
              <a:gd name="connsiteY1" fmla="*/ 0 h 692150"/>
              <a:gd name="connsiteX2" fmla="*/ 1316947 w 1316947"/>
              <a:gd name="connsiteY2" fmla="*/ 463550 h 692150"/>
              <a:gd name="connsiteX3" fmla="*/ 0 w 1316947"/>
              <a:gd name="connsiteY3" fmla="*/ 692150 h 692150"/>
              <a:gd name="connsiteX4" fmla="*/ 3175 w 1316947"/>
              <a:gd name="connsiteY4" fmla="*/ 139700 h 692150"/>
              <a:gd name="connsiteX0" fmla="*/ 3175 w 840003"/>
              <a:gd name="connsiteY0" fmla="*/ 139700 h 692150"/>
              <a:gd name="connsiteX1" fmla="*/ 817351 w 840003"/>
              <a:gd name="connsiteY1" fmla="*/ 0 h 692150"/>
              <a:gd name="connsiteX2" fmla="*/ 840003 w 840003"/>
              <a:gd name="connsiteY2" fmla="*/ 368300 h 692150"/>
              <a:gd name="connsiteX3" fmla="*/ 0 w 840003"/>
              <a:gd name="connsiteY3" fmla="*/ 692150 h 692150"/>
              <a:gd name="connsiteX4" fmla="*/ 3175 w 840003"/>
              <a:gd name="connsiteY4" fmla="*/ 139700 h 692150"/>
              <a:gd name="connsiteX0" fmla="*/ 3175 w 1123444"/>
              <a:gd name="connsiteY0" fmla="*/ 139700 h 692150"/>
              <a:gd name="connsiteX1" fmla="*/ 817351 w 1123444"/>
              <a:gd name="connsiteY1" fmla="*/ 0 h 692150"/>
              <a:gd name="connsiteX2" fmla="*/ 1123444 w 1123444"/>
              <a:gd name="connsiteY2" fmla="*/ 428625 h 692150"/>
              <a:gd name="connsiteX3" fmla="*/ 0 w 1123444"/>
              <a:gd name="connsiteY3" fmla="*/ 692150 h 692150"/>
              <a:gd name="connsiteX4" fmla="*/ 3175 w 1123444"/>
              <a:gd name="connsiteY4" fmla="*/ 139700 h 692150"/>
              <a:gd name="connsiteX0" fmla="*/ 65 w 1120334"/>
              <a:gd name="connsiteY0" fmla="*/ 139700 h 802569"/>
              <a:gd name="connsiteX1" fmla="*/ 814241 w 1120334"/>
              <a:gd name="connsiteY1" fmla="*/ 0 h 802569"/>
              <a:gd name="connsiteX2" fmla="*/ 1120334 w 1120334"/>
              <a:gd name="connsiteY2" fmla="*/ 428625 h 802569"/>
              <a:gd name="connsiteX3" fmla="*/ 10319 w 1120334"/>
              <a:gd name="connsiteY3" fmla="*/ 802569 h 802569"/>
              <a:gd name="connsiteX4" fmla="*/ 65 w 1120334"/>
              <a:gd name="connsiteY4" fmla="*/ 139700 h 802569"/>
              <a:gd name="connsiteX0" fmla="*/ 87 w 1116998"/>
              <a:gd name="connsiteY0" fmla="*/ 265177 h 802569"/>
              <a:gd name="connsiteX1" fmla="*/ 810905 w 1116998"/>
              <a:gd name="connsiteY1" fmla="*/ 0 h 802569"/>
              <a:gd name="connsiteX2" fmla="*/ 1116998 w 1116998"/>
              <a:gd name="connsiteY2" fmla="*/ 428625 h 802569"/>
              <a:gd name="connsiteX3" fmla="*/ 6983 w 1116998"/>
              <a:gd name="connsiteY3" fmla="*/ 802569 h 802569"/>
              <a:gd name="connsiteX4" fmla="*/ 87 w 1116998"/>
              <a:gd name="connsiteY4" fmla="*/ 265177 h 802569"/>
              <a:gd name="connsiteX0" fmla="*/ 51 w 1123677"/>
              <a:gd name="connsiteY0" fmla="*/ 260158 h 802569"/>
              <a:gd name="connsiteX1" fmla="*/ 817584 w 1123677"/>
              <a:gd name="connsiteY1" fmla="*/ 0 h 802569"/>
              <a:gd name="connsiteX2" fmla="*/ 1123677 w 1123677"/>
              <a:gd name="connsiteY2" fmla="*/ 428625 h 802569"/>
              <a:gd name="connsiteX3" fmla="*/ 13662 w 1123677"/>
              <a:gd name="connsiteY3" fmla="*/ 802569 h 802569"/>
              <a:gd name="connsiteX4" fmla="*/ 51 w 1123677"/>
              <a:gd name="connsiteY4" fmla="*/ 260158 h 802569"/>
              <a:gd name="connsiteX0" fmla="*/ 64 w 1123690"/>
              <a:gd name="connsiteY0" fmla="*/ 260158 h 812607"/>
              <a:gd name="connsiteX1" fmla="*/ 817597 w 1123690"/>
              <a:gd name="connsiteY1" fmla="*/ 0 h 812607"/>
              <a:gd name="connsiteX2" fmla="*/ 1123690 w 1123690"/>
              <a:gd name="connsiteY2" fmla="*/ 428625 h 812607"/>
              <a:gd name="connsiteX3" fmla="*/ 10318 w 1123690"/>
              <a:gd name="connsiteY3" fmla="*/ 812607 h 812607"/>
              <a:gd name="connsiteX4" fmla="*/ 64 w 1123690"/>
              <a:gd name="connsiteY4" fmla="*/ 260158 h 812607"/>
              <a:gd name="connsiteX0" fmla="*/ 64 w 1012898"/>
              <a:gd name="connsiteY0" fmla="*/ 260158 h 812607"/>
              <a:gd name="connsiteX1" fmla="*/ 817597 w 1012898"/>
              <a:gd name="connsiteY1" fmla="*/ 0 h 812607"/>
              <a:gd name="connsiteX2" fmla="*/ 1012898 w 1012898"/>
              <a:gd name="connsiteY2" fmla="*/ 378435 h 812607"/>
              <a:gd name="connsiteX3" fmla="*/ 10318 w 1012898"/>
              <a:gd name="connsiteY3" fmla="*/ 812607 h 812607"/>
              <a:gd name="connsiteX4" fmla="*/ 64 w 1012898"/>
              <a:gd name="connsiteY4" fmla="*/ 260158 h 812607"/>
              <a:gd name="connsiteX0" fmla="*/ 64 w 1036400"/>
              <a:gd name="connsiteY0" fmla="*/ 260158 h 812607"/>
              <a:gd name="connsiteX1" fmla="*/ 817597 w 1036400"/>
              <a:gd name="connsiteY1" fmla="*/ 0 h 812607"/>
              <a:gd name="connsiteX2" fmla="*/ 1036400 w 1036400"/>
              <a:gd name="connsiteY2" fmla="*/ 368397 h 812607"/>
              <a:gd name="connsiteX3" fmla="*/ 10318 w 1036400"/>
              <a:gd name="connsiteY3" fmla="*/ 812607 h 812607"/>
              <a:gd name="connsiteX4" fmla="*/ 64 w 1036400"/>
              <a:gd name="connsiteY4" fmla="*/ 260158 h 812607"/>
              <a:gd name="connsiteX0" fmla="*/ 86 w 1036422"/>
              <a:gd name="connsiteY0" fmla="*/ 260158 h 812607"/>
              <a:gd name="connsiteX1" fmla="*/ 817619 w 1036422"/>
              <a:gd name="connsiteY1" fmla="*/ 0 h 812607"/>
              <a:gd name="connsiteX2" fmla="*/ 1036422 w 1036422"/>
              <a:gd name="connsiteY2" fmla="*/ 368397 h 812607"/>
              <a:gd name="connsiteX3" fmla="*/ 6982 w 1036422"/>
              <a:gd name="connsiteY3" fmla="*/ 812607 h 812607"/>
              <a:gd name="connsiteX4" fmla="*/ 86 w 1036422"/>
              <a:gd name="connsiteY4" fmla="*/ 260158 h 812607"/>
              <a:gd name="connsiteX0" fmla="*/ 20165 w 1056501"/>
              <a:gd name="connsiteY0" fmla="*/ 260158 h 826501"/>
              <a:gd name="connsiteX1" fmla="*/ 837698 w 1056501"/>
              <a:gd name="connsiteY1" fmla="*/ 0 h 826501"/>
              <a:gd name="connsiteX2" fmla="*/ 1056501 w 1056501"/>
              <a:gd name="connsiteY2" fmla="*/ 368397 h 826501"/>
              <a:gd name="connsiteX3" fmla="*/ 0 w 1056501"/>
              <a:gd name="connsiteY3" fmla="*/ 826501 h 826501"/>
              <a:gd name="connsiteX4" fmla="*/ 20165 w 1056501"/>
              <a:gd name="connsiteY4" fmla="*/ 260158 h 826501"/>
              <a:gd name="connsiteX0" fmla="*/ 20165 w 1084260"/>
              <a:gd name="connsiteY0" fmla="*/ 510258 h 1076601"/>
              <a:gd name="connsiteX1" fmla="*/ 1084260 w 1084260"/>
              <a:gd name="connsiteY1" fmla="*/ 0 h 1076601"/>
              <a:gd name="connsiteX2" fmla="*/ 1056501 w 1084260"/>
              <a:gd name="connsiteY2" fmla="*/ 618497 h 1076601"/>
              <a:gd name="connsiteX3" fmla="*/ 0 w 1084260"/>
              <a:gd name="connsiteY3" fmla="*/ 1076601 h 1076601"/>
              <a:gd name="connsiteX4" fmla="*/ 20165 w 1084260"/>
              <a:gd name="connsiteY4" fmla="*/ 510258 h 1076601"/>
              <a:gd name="connsiteX0" fmla="*/ 20165 w 1279008"/>
              <a:gd name="connsiteY0" fmla="*/ 510258 h 1076601"/>
              <a:gd name="connsiteX1" fmla="*/ 1084260 w 1279008"/>
              <a:gd name="connsiteY1" fmla="*/ 0 h 1076601"/>
              <a:gd name="connsiteX2" fmla="*/ 1279008 w 1279008"/>
              <a:gd name="connsiteY2" fmla="*/ 377660 h 1076601"/>
              <a:gd name="connsiteX3" fmla="*/ 0 w 1279008"/>
              <a:gd name="connsiteY3" fmla="*/ 1076601 h 1076601"/>
              <a:gd name="connsiteX4" fmla="*/ 20165 w 1279008"/>
              <a:gd name="connsiteY4" fmla="*/ 510258 h 1076601"/>
              <a:gd name="connsiteX0" fmla="*/ 20165 w 1285021"/>
              <a:gd name="connsiteY0" fmla="*/ 510258 h 1076601"/>
              <a:gd name="connsiteX1" fmla="*/ 1084260 w 1285021"/>
              <a:gd name="connsiteY1" fmla="*/ 0 h 1076601"/>
              <a:gd name="connsiteX2" fmla="*/ 1285021 w 1285021"/>
              <a:gd name="connsiteY2" fmla="*/ 368396 h 1076601"/>
              <a:gd name="connsiteX3" fmla="*/ 0 w 1285021"/>
              <a:gd name="connsiteY3" fmla="*/ 1076601 h 1076601"/>
              <a:gd name="connsiteX4" fmla="*/ 20165 w 1285021"/>
              <a:gd name="connsiteY4" fmla="*/ 510258 h 1076601"/>
              <a:gd name="connsiteX0" fmla="*/ 13 w 1264869"/>
              <a:gd name="connsiteY0" fmla="*/ 510258 h 1095127"/>
              <a:gd name="connsiteX1" fmla="*/ 1064108 w 1264869"/>
              <a:gd name="connsiteY1" fmla="*/ 0 h 1095127"/>
              <a:gd name="connsiteX2" fmla="*/ 1264869 w 1264869"/>
              <a:gd name="connsiteY2" fmla="*/ 368396 h 1095127"/>
              <a:gd name="connsiteX3" fmla="*/ 64040 w 1264869"/>
              <a:gd name="connsiteY3" fmla="*/ 1095127 h 1095127"/>
              <a:gd name="connsiteX4" fmla="*/ 13 w 1264869"/>
              <a:gd name="connsiteY4" fmla="*/ 510258 h 1095127"/>
              <a:gd name="connsiteX0" fmla="*/ 2124 w 1266980"/>
              <a:gd name="connsiteY0" fmla="*/ 510258 h 1071969"/>
              <a:gd name="connsiteX1" fmla="*/ 1066219 w 1266980"/>
              <a:gd name="connsiteY1" fmla="*/ 0 h 1071969"/>
              <a:gd name="connsiteX2" fmla="*/ 1266980 w 1266980"/>
              <a:gd name="connsiteY2" fmla="*/ 368396 h 1071969"/>
              <a:gd name="connsiteX3" fmla="*/ 0 w 1266980"/>
              <a:gd name="connsiteY3" fmla="*/ 1071969 h 1071969"/>
              <a:gd name="connsiteX4" fmla="*/ 2124 w 1266980"/>
              <a:gd name="connsiteY4" fmla="*/ 510258 h 1071969"/>
              <a:gd name="connsiteX0" fmla="*/ 7312 w 1272168"/>
              <a:gd name="connsiteY0" fmla="*/ 510258 h 1099934"/>
              <a:gd name="connsiteX1" fmla="*/ 1071407 w 1272168"/>
              <a:gd name="connsiteY1" fmla="*/ 0 h 1099934"/>
              <a:gd name="connsiteX2" fmla="*/ 1272168 w 1272168"/>
              <a:gd name="connsiteY2" fmla="*/ 368396 h 1099934"/>
              <a:gd name="connsiteX3" fmla="*/ 0 w 1272168"/>
              <a:gd name="connsiteY3" fmla="*/ 1099934 h 1099934"/>
              <a:gd name="connsiteX4" fmla="*/ 7312 w 1272168"/>
              <a:gd name="connsiteY4" fmla="*/ 510258 h 1099934"/>
              <a:gd name="connsiteX0" fmla="*/ 21564 w 1286420"/>
              <a:gd name="connsiteY0" fmla="*/ 510258 h 1099934"/>
              <a:gd name="connsiteX1" fmla="*/ 1085659 w 1286420"/>
              <a:gd name="connsiteY1" fmla="*/ 0 h 1099934"/>
              <a:gd name="connsiteX2" fmla="*/ 1286420 w 1286420"/>
              <a:gd name="connsiteY2" fmla="*/ 368396 h 1099934"/>
              <a:gd name="connsiteX3" fmla="*/ 0 w 1286420"/>
              <a:gd name="connsiteY3" fmla="*/ 1099934 h 1099934"/>
              <a:gd name="connsiteX4" fmla="*/ 21564 w 1286420"/>
              <a:gd name="connsiteY4" fmla="*/ 510258 h 1099934"/>
              <a:gd name="connsiteX0" fmla="*/ 209 w 1287867"/>
              <a:gd name="connsiteY0" fmla="*/ 510258 h 1099934"/>
              <a:gd name="connsiteX1" fmla="*/ 1087106 w 1287867"/>
              <a:gd name="connsiteY1" fmla="*/ 0 h 1099934"/>
              <a:gd name="connsiteX2" fmla="*/ 1287867 w 1287867"/>
              <a:gd name="connsiteY2" fmla="*/ 368396 h 1099934"/>
              <a:gd name="connsiteX3" fmla="*/ 1447 w 1287867"/>
              <a:gd name="connsiteY3" fmla="*/ 1099934 h 1099934"/>
              <a:gd name="connsiteX4" fmla="*/ 209 w 1287867"/>
              <a:gd name="connsiteY4" fmla="*/ 510258 h 1099934"/>
              <a:gd name="connsiteX0" fmla="*/ 106 w 1287764"/>
              <a:gd name="connsiteY0" fmla="*/ 510258 h 1093869"/>
              <a:gd name="connsiteX1" fmla="*/ 1087003 w 1287764"/>
              <a:gd name="connsiteY1" fmla="*/ 0 h 1093869"/>
              <a:gd name="connsiteX2" fmla="*/ 1287764 w 1287764"/>
              <a:gd name="connsiteY2" fmla="*/ 368396 h 1093869"/>
              <a:gd name="connsiteX3" fmla="*/ 5281 w 1287764"/>
              <a:gd name="connsiteY3" fmla="*/ 1093869 h 1093869"/>
              <a:gd name="connsiteX4" fmla="*/ 106 w 1287764"/>
              <a:gd name="connsiteY4" fmla="*/ 510258 h 1093869"/>
              <a:gd name="connsiteX0" fmla="*/ 2699 w 1290357"/>
              <a:gd name="connsiteY0" fmla="*/ 510258 h 1096902"/>
              <a:gd name="connsiteX1" fmla="*/ 1089596 w 1290357"/>
              <a:gd name="connsiteY1" fmla="*/ 0 h 1096902"/>
              <a:gd name="connsiteX2" fmla="*/ 1290357 w 1290357"/>
              <a:gd name="connsiteY2" fmla="*/ 368396 h 1096902"/>
              <a:gd name="connsiteX3" fmla="*/ 0 w 1290357"/>
              <a:gd name="connsiteY3" fmla="*/ 1096902 h 1096902"/>
              <a:gd name="connsiteX4" fmla="*/ 2699 w 1290357"/>
              <a:gd name="connsiteY4" fmla="*/ 510258 h 1096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0357" h="1096902">
                <a:moveTo>
                  <a:pt x="2699" y="510258"/>
                </a:moveTo>
                <a:lnTo>
                  <a:pt x="1089596" y="0"/>
                </a:lnTo>
                <a:lnTo>
                  <a:pt x="1290357" y="368396"/>
                </a:lnTo>
                <a:lnTo>
                  <a:pt x="0" y="1096902"/>
                </a:lnTo>
                <a:cubicBezTo>
                  <a:pt x="1058" y="912752"/>
                  <a:pt x="1641" y="694408"/>
                  <a:pt x="2699" y="51025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ctangle 4">
            <a:extLst>
              <a:ext uri="{FF2B5EF4-FFF2-40B4-BE49-F238E27FC236}">
                <a16:creationId xmlns:a16="http://schemas.microsoft.com/office/drawing/2014/main" id="{6A9D7F79-3184-CEED-2C8F-C073EB6EDD56}"/>
              </a:ext>
            </a:extLst>
          </p:cNvPr>
          <p:cNvSpPr/>
          <p:nvPr/>
        </p:nvSpPr>
        <p:spPr>
          <a:xfrm>
            <a:off x="6118418" y="3587750"/>
            <a:ext cx="1697074" cy="869057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7086 w 1316947"/>
              <a:gd name="connsiteY0" fmla="*/ 224719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7086 w 1316947"/>
              <a:gd name="connsiteY4" fmla="*/ 224719 h 666750"/>
              <a:gd name="connsiteX0" fmla="*/ 3175 w 1313036"/>
              <a:gd name="connsiteY0" fmla="*/ 224719 h 777169"/>
              <a:gd name="connsiteX1" fmla="*/ 960611 w 1313036"/>
              <a:gd name="connsiteY1" fmla="*/ 0 h 777169"/>
              <a:gd name="connsiteX2" fmla="*/ 1313036 w 1313036"/>
              <a:gd name="connsiteY2" fmla="*/ 438150 h 777169"/>
              <a:gd name="connsiteX3" fmla="*/ 0 w 1313036"/>
              <a:gd name="connsiteY3" fmla="*/ 777169 h 777169"/>
              <a:gd name="connsiteX4" fmla="*/ 3175 w 1313036"/>
              <a:gd name="connsiteY4" fmla="*/ 224719 h 777169"/>
              <a:gd name="connsiteX0" fmla="*/ 3175 w 1219167"/>
              <a:gd name="connsiteY0" fmla="*/ 224719 h 777169"/>
              <a:gd name="connsiteX1" fmla="*/ 960611 w 1219167"/>
              <a:gd name="connsiteY1" fmla="*/ 0 h 777169"/>
              <a:gd name="connsiteX2" fmla="*/ 1219167 w 1219167"/>
              <a:gd name="connsiteY2" fmla="*/ 418074 h 777169"/>
              <a:gd name="connsiteX3" fmla="*/ 0 w 1219167"/>
              <a:gd name="connsiteY3" fmla="*/ 777169 h 777169"/>
              <a:gd name="connsiteX4" fmla="*/ 3175 w 1219167"/>
              <a:gd name="connsiteY4" fmla="*/ 224719 h 777169"/>
              <a:gd name="connsiteX0" fmla="*/ 3175 w 1168321"/>
              <a:gd name="connsiteY0" fmla="*/ 224719 h 777169"/>
              <a:gd name="connsiteX1" fmla="*/ 960611 w 1168321"/>
              <a:gd name="connsiteY1" fmla="*/ 0 h 777169"/>
              <a:gd name="connsiteX2" fmla="*/ 1168321 w 1168321"/>
              <a:gd name="connsiteY2" fmla="*/ 337769 h 777169"/>
              <a:gd name="connsiteX3" fmla="*/ 0 w 1168321"/>
              <a:gd name="connsiteY3" fmla="*/ 777169 h 777169"/>
              <a:gd name="connsiteX4" fmla="*/ 3175 w 1168321"/>
              <a:gd name="connsiteY4" fmla="*/ 224719 h 777169"/>
              <a:gd name="connsiteX0" fmla="*/ 3175 w 1203522"/>
              <a:gd name="connsiteY0" fmla="*/ 224719 h 777169"/>
              <a:gd name="connsiteX1" fmla="*/ 960611 w 1203522"/>
              <a:gd name="connsiteY1" fmla="*/ 0 h 777169"/>
              <a:gd name="connsiteX2" fmla="*/ 1203522 w 1203522"/>
              <a:gd name="connsiteY2" fmla="*/ 387960 h 777169"/>
              <a:gd name="connsiteX3" fmla="*/ 0 w 1203522"/>
              <a:gd name="connsiteY3" fmla="*/ 777169 h 777169"/>
              <a:gd name="connsiteX4" fmla="*/ 3175 w 1203522"/>
              <a:gd name="connsiteY4" fmla="*/ 224719 h 777169"/>
              <a:gd name="connsiteX0" fmla="*/ 9 w 1200356"/>
              <a:gd name="connsiteY0" fmla="*/ 224719 h 636636"/>
              <a:gd name="connsiteX1" fmla="*/ 957445 w 1200356"/>
              <a:gd name="connsiteY1" fmla="*/ 0 h 636636"/>
              <a:gd name="connsiteX2" fmla="*/ 1200356 w 1200356"/>
              <a:gd name="connsiteY2" fmla="*/ 387960 h 636636"/>
              <a:gd name="connsiteX3" fmla="*/ 90703 w 1200356"/>
              <a:gd name="connsiteY3" fmla="*/ 636636 h 636636"/>
              <a:gd name="connsiteX4" fmla="*/ 9 w 1200356"/>
              <a:gd name="connsiteY4" fmla="*/ 224719 h 636636"/>
              <a:gd name="connsiteX0" fmla="*/ 239 w 1200586"/>
              <a:gd name="connsiteY0" fmla="*/ 224719 h 762112"/>
              <a:gd name="connsiteX1" fmla="*/ 957675 w 1200586"/>
              <a:gd name="connsiteY1" fmla="*/ 0 h 762112"/>
              <a:gd name="connsiteX2" fmla="*/ 1200586 w 1200586"/>
              <a:gd name="connsiteY2" fmla="*/ 387960 h 762112"/>
              <a:gd name="connsiteX3" fmla="*/ 975 w 1200586"/>
              <a:gd name="connsiteY3" fmla="*/ 762112 h 762112"/>
              <a:gd name="connsiteX4" fmla="*/ 239 w 1200586"/>
              <a:gd name="connsiteY4" fmla="*/ 224719 h 762112"/>
              <a:gd name="connsiteX0" fmla="*/ 30790 w 1199611"/>
              <a:gd name="connsiteY0" fmla="*/ 305630 h 762112"/>
              <a:gd name="connsiteX1" fmla="*/ 956700 w 1199611"/>
              <a:gd name="connsiteY1" fmla="*/ 0 h 762112"/>
              <a:gd name="connsiteX2" fmla="*/ 1199611 w 1199611"/>
              <a:gd name="connsiteY2" fmla="*/ 387960 h 762112"/>
              <a:gd name="connsiteX3" fmla="*/ 0 w 1199611"/>
              <a:gd name="connsiteY3" fmla="*/ 762112 h 762112"/>
              <a:gd name="connsiteX4" fmla="*/ 30790 w 1199611"/>
              <a:gd name="connsiteY4" fmla="*/ 305630 h 762112"/>
              <a:gd name="connsiteX0" fmla="*/ 79 w 1207432"/>
              <a:gd name="connsiteY0" fmla="*/ 242700 h 762112"/>
              <a:gd name="connsiteX1" fmla="*/ 964521 w 1207432"/>
              <a:gd name="connsiteY1" fmla="*/ 0 h 762112"/>
              <a:gd name="connsiteX2" fmla="*/ 1207432 w 1207432"/>
              <a:gd name="connsiteY2" fmla="*/ 387960 h 762112"/>
              <a:gd name="connsiteX3" fmla="*/ 7821 w 1207432"/>
              <a:gd name="connsiteY3" fmla="*/ 762112 h 762112"/>
              <a:gd name="connsiteX4" fmla="*/ 79 w 1207432"/>
              <a:gd name="connsiteY4" fmla="*/ 242700 h 762112"/>
              <a:gd name="connsiteX0" fmla="*/ 119 w 1207472"/>
              <a:gd name="connsiteY0" fmla="*/ 242700 h 789082"/>
              <a:gd name="connsiteX1" fmla="*/ 964561 w 1207472"/>
              <a:gd name="connsiteY1" fmla="*/ 0 h 789082"/>
              <a:gd name="connsiteX2" fmla="*/ 1207472 w 1207472"/>
              <a:gd name="connsiteY2" fmla="*/ 387960 h 789082"/>
              <a:gd name="connsiteX3" fmla="*/ 4358 w 1207472"/>
              <a:gd name="connsiteY3" fmla="*/ 789082 h 789082"/>
              <a:gd name="connsiteX4" fmla="*/ 119 w 1207472"/>
              <a:gd name="connsiteY4" fmla="*/ 242700 h 789082"/>
              <a:gd name="connsiteX0" fmla="*/ 50 w 1207403"/>
              <a:gd name="connsiteY0" fmla="*/ 242700 h 784821"/>
              <a:gd name="connsiteX1" fmla="*/ 964492 w 1207403"/>
              <a:gd name="connsiteY1" fmla="*/ 0 h 784821"/>
              <a:gd name="connsiteX2" fmla="*/ 1207403 w 1207403"/>
              <a:gd name="connsiteY2" fmla="*/ 387960 h 784821"/>
              <a:gd name="connsiteX3" fmla="*/ 14250 w 1207403"/>
              <a:gd name="connsiteY3" fmla="*/ 784821 h 784821"/>
              <a:gd name="connsiteX4" fmla="*/ 50 w 1207403"/>
              <a:gd name="connsiteY4" fmla="*/ 242700 h 784821"/>
              <a:gd name="connsiteX0" fmla="*/ 2403 w 1193153"/>
              <a:gd name="connsiteY0" fmla="*/ 246960 h 784821"/>
              <a:gd name="connsiteX1" fmla="*/ 950242 w 1193153"/>
              <a:gd name="connsiteY1" fmla="*/ 0 h 784821"/>
              <a:gd name="connsiteX2" fmla="*/ 1193153 w 1193153"/>
              <a:gd name="connsiteY2" fmla="*/ 387960 h 784821"/>
              <a:gd name="connsiteX3" fmla="*/ 0 w 1193153"/>
              <a:gd name="connsiteY3" fmla="*/ 784821 h 784821"/>
              <a:gd name="connsiteX4" fmla="*/ 2403 w 1193153"/>
              <a:gd name="connsiteY4" fmla="*/ 246960 h 784821"/>
              <a:gd name="connsiteX0" fmla="*/ 227 w 1194297"/>
              <a:gd name="connsiteY0" fmla="*/ 238438 h 784821"/>
              <a:gd name="connsiteX1" fmla="*/ 951386 w 1194297"/>
              <a:gd name="connsiteY1" fmla="*/ 0 h 784821"/>
              <a:gd name="connsiteX2" fmla="*/ 1194297 w 1194297"/>
              <a:gd name="connsiteY2" fmla="*/ 387960 h 784821"/>
              <a:gd name="connsiteX3" fmla="*/ 1144 w 1194297"/>
              <a:gd name="connsiteY3" fmla="*/ 784821 h 784821"/>
              <a:gd name="connsiteX4" fmla="*/ 227 w 1194297"/>
              <a:gd name="connsiteY4" fmla="*/ 238438 h 78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297" h="784821">
                <a:moveTo>
                  <a:pt x="227" y="238438"/>
                </a:moveTo>
                <a:lnTo>
                  <a:pt x="951386" y="0"/>
                </a:lnTo>
                <a:lnTo>
                  <a:pt x="1194297" y="387960"/>
                </a:lnTo>
                <a:lnTo>
                  <a:pt x="1144" y="784821"/>
                </a:lnTo>
                <a:cubicBezTo>
                  <a:pt x="2202" y="600671"/>
                  <a:pt x="-831" y="422588"/>
                  <a:pt x="227" y="238438"/>
                </a:cubicBezTo>
                <a:close/>
              </a:path>
            </a:pathLst>
          </a:custGeom>
          <a:solidFill>
            <a:srgbClr val="A2D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CE94F9BA-C9EE-DED7-66EC-5166AB643DCF}"/>
              </a:ext>
            </a:extLst>
          </p:cNvPr>
          <p:cNvSpPr/>
          <p:nvPr/>
        </p:nvSpPr>
        <p:spPr>
          <a:xfrm flipH="1">
            <a:off x="4402548" y="3559623"/>
            <a:ext cx="1727725" cy="899828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3175 w 1316947"/>
              <a:gd name="connsiteY0" fmla="*/ 139700 h 692150"/>
              <a:gd name="connsiteX1" fmla="*/ 817351 w 1316947"/>
              <a:gd name="connsiteY1" fmla="*/ 0 h 692150"/>
              <a:gd name="connsiteX2" fmla="*/ 1316947 w 1316947"/>
              <a:gd name="connsiteY2" fmla="*/ 463550 h 692150"/>
              <a:gd name="connsiteX3" fmla="*/ 0 w 1316947"/>
              <a:gd name="connsiteY3" fmla="*/ 692150 h 692150"/>
              <a:gd name="connsiteX4" fmla="*/ 3175 w 1316947"/>
              <a:gd name="connsiteY4" fmla="*/ 139700 h 692150"/>
              <a:gd name="connsiteX0" fmla="*/ 3175 w 840003"/>
              <a:gd name="connsiteY0" fmla="*/ 139700 h 692150"/>
              <a:gd name="connsiteX1" fmla="*/ 817351 w 840003"/>
              <a:gd name="connsiteY1" fmla="*/ 0 h 692150"/>
              <a:gd name="connsiteX2" fmla="*/ 840003 w 840003"/>
              <a:gd name="connsiteY2" fmla="*/ 368300 h 692150"/>
              <a:gd name="connsiteX3" fmla="*/ 0 w 840003"/>
              <a:gd name="connsiteY3" fmla="*/ 692150 h 692150"/>
              <a:gd name="connsiteX4" fmla="*/ 3175 w 840003"/>
              <a:gd name="connsiteY4" fmla="*/ 139700 h 692150"/>
              <a:gd name="connsiteX0" fmla="*/ 3175 w 1123444"/>
              <a:gd name="connsiteY0" fmla="*/ 139700 h 692150"/>
              <a:gd name="connsiteX1" fmla="*/ 817351 w 1123444"/>
              <a:gd name="connsiteY1" fmla="*/ 0 h 692150"/>
              <a:gd name="connsiteX2" fmla="*/ 1123444 w 1123444"/>
              <a:gd name="connsiteY2" fmla="*/ 428625 h 692150"/>
              <a:gd name="connsiteX3" fmla="*/ 0 w 1123444"/>
              <a:gd name="connsiteY3" fmla="*/ 692150 h 692150"/>
              <a:gd name="connsiteX4" fmla="*/ 3175 w 1123444"/>
              <a:gd name="connsiteY4" fmla="*/ 139700 h 692150"/>
              <a:gd name="connsiteX0" fmla="*/ 65 w 1120334"/>
              <a:gd name="connsiteY0" fmla="*/ 139700 h 802569"/>
              <a:gd name="connsiteX1" fmla="*/ 814241 w 1120334"/>
              <a:gd name="connsiteY1" fmla="*/ 0 h 802569"/>
              <a:gd name="connsiteX2" fmla="*/ 1120334 w 1120334"/>
              <a:gd name="connsiteY2" fmla="*/ 428625 h 802569"/>
              <a:gd name="connsiteX3" fmla="*/ 10319 w 1120334"/>
              <a:gd name="connsiteY3" fmla="*/ 802569 h 802569"/>
              <a:gd name="connsiteX4" fmla="*/ 65 w 1120334"/>
              <a:gd name="connsiteY4" fmla="*/ 139700 h 802569"/>
              <a:gd name="connsiteX0" fmla="*/ 87 w 1116998"/>
              <a:gd name="connsiteY0" fmla="*/ 265177 h 802569"/>
              <a:gd name="connsiteX1" fmla="*/ 810905 w 1116998"/>
              <a:gd name="connsiteY1" fmla="*/ 0 h 802569"/>
              <a:gd name="connsiteX2" fmla="*/ 1116998 w 1116998"/>
              <a:gd name="connsiteY2" fmla="*/ 428625 h 802569"/>
              <a:gd name="connsiteX3" fmla="*/ 6983 w 1116998"/>
              <a:gd name="connsiteY3" fmla="*/ 802569 h 802569"/>
              <a:gd name="connsiteX4" fmla="*/ 87 w 1116998"/>
              <a:gd name="connsiteY4" fmla="*/ 265177 h 802569"/>
              <a:gd name="connsiteX0" fmla="*/ 51 w 1123677"/>
              <a:gd name="connsiteY0" fmla="*/ 260158 h 802569"/>
              <a:gd name="connsiteX1" fmla="*/ 817584 w 1123677"/>
              <a:gd name="connsiteY1" fmla="*/ 0 h 802569"/>
              <a:gd name="connsiteX2" fmla="*/ 1123677 w 1123677"/>
              <a:gd name="connsiteY2" fmla="*/ 428625 h 802569"/>
              <a:gd name="connsiteX3" fmla="*/ 13662 w 1123677"/>
              <a:gd name="connsiteY3" fmla="*/ 802569 h 802569"/>
              <a:gd name="connsiteX4" fmla="*/ 51 w 1123677"/>
              <a:gd name="connsiteY4" fmla="*/ 260158 h 802569"/>
              <a:gd name="connsiteX0" fmla="*/ 64 w 1123690"/>
              <a:gd name="connsiteY0" fmla="*/ 260158 h 812607"/>
              <a:gd name="connsiteX1" fmla="*/ 817597 w 1123690"/>
              <a:gd name="connsiteY1" fmla="*/ 0 h 812607"/>
              <a:gd name="connsiteX2" fmla="*/ 1123690 w 1123690"/>
              <a:gd name="connsiteY2" fmla="*/ 428625 h 812607"/>
              <a:gd name="connsiteX3" fmla="*/ 10318 w 1123690"/>
              <a:gd name="connsiteY3" fmla="*/ 812607 h 812607"/>
              <a:gd name="connsiteX4" fmla="*/ 64 w 1123690"/>
              <a:gd name="connsiteY4" fmla="*/ 260158 h 812607"/>
              <a:gd name="connsiteX0" fmla="*/ 64 w 1012898"/>
              <a:gd name="connsiteY0" fmla="*/ 260158 h 812607"/>
              <a:gd name="connsiteX1" fmla="*/ 817597 w 1012898"/>
              <a:gd name="connsiteY1" fmla="*/ 0 h 812607"/>
              <a:gd name="connsiteX2" fmla="*/ 1012898 w 1012898"/>
              <a:gd name="connsiteY2" fmla="*/ 378435 h 812607"/>
              <a:gd name="connsiteX3" fmla="*/ 10318 w 1012898"/>
              <a:gd name="connsiteY3" fmla="*/ 812607 h 812607"/>
              <a:gd name="connsiteX4" fmla="*/ 64 w 1012898"/>
              <a:gd name="connsiteY4" fmla="*/ 260158 h 812607"/>
              <a:gd name="connsiteX0" fmla="*/ 64 w 1036400"/>
              <a:gd name="connsiteY0" fmla="*/ 260158 h 812607"/>
              <a:gd name="connsiteX1" fmla="*/ 817597 w 1036400"/>
              <a:gd name="connsiteY1" fmla="*/ 0 h 812607"/>
              <a:gd name="connsiteX2" fmla="*/ 1036400 w 1036400"/>
              <a:gd name="connsiteY2" fmla="*/ 368397 h 812607"/>
              <a:gd name="connsiteX3" fmla="*/ 10318 w 1036400"/>
              <a:gd name="connsiteY3" fmla="*/ 812607 h 812607"/>
              <a:gd name="connsiteX4" fmla="*/ 64 w 1036400"/>
              <a:gd name="connsiteY4" fmla="*/ 260158 h 812607"/>
              <a:gd name="connsiteX0" fmla="*/ 86 w 1036422"/>
              <a:gd name="connsiteY0" fmla="*/ 260158 h 812607"/>
              <a:gd name="connsiteX1" fmla="*/ 817619 w 1036422"/>
              <a:gd name="connsiteY1" fmla="*/ 0 h 812607"/>
              <a:gd name="connsiteX2" fmla="*/ 1036422 w 1036422"/>
              <a:gd name="connsiteY2" fmla="*/ 368397 h 812607"/>
              <a:gd name="connsiteX3" fmla="*/ 6982 w 1036422"/>
              <a:gd name="connsiteY3" fmla="*/ 812607 h 812607"/>
              <a:gd name="connsiteX4" fmla="*/ 86 w 1036422"/>
              <a:gd name="connsiteY4" fmla="*/ 260158 h 812607"/>
              <a:gd name="connsiteX0" fmla="*/ 7355 w 1043691"/>
              <a:gd name="connsiteY0" fmla="*/ 260158 h 812607"/>
              <a:gd name="connsiteX1" fmla="*/ 824888 w 1043691"/>
              <a:gd name="connsiteY1" fmla="*/ 0 h 812607"/>
              <a:gd name="connsiteX2" fmla="*/ 1043691 w 1043691"/>
              <a:gd name="connsiteY2" fmla="*/ 368397 h 812607"/>
              <a:gd name="connsiteX3" fmla="*/ 0 w 1043691"/>
              <a:gd name="connsiteY3" fmla="*/ 812607 h 812607"/>
              <a:gd name="connsiteX4" fmla="*/ 7355 w 1043691"/>
              <a:gd name="connsiteY4" fmla="*/ 260158 h 812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3691" h="812607">
                <a:moveTo>
                  <a:pt x="7355" y="260158"/>
                </a:moveTo>
                <a:lnTo>
                  <a:pt x="824888" y="0"/>
                </a:lnTo>
                <a:lnTo>
                  <a:pt x="1043691" y="368397"/>
                </a:lnTo>
                <a:lnTo>
                  <a:pt x="0" y="812607"/>
                </a:lnTo>
                <a:cubicBezTo>
                  <a:pt x="1058" y="628457"/>
                  <a:pt x="6297" y="444308"/>
                  <a:pt x="7355" y="26015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8B8F80FE-74BB-2FDE-DE89-748D343B68F6}"/>
              </a:ext>
            </a:extLst>
          </p:cNvPr>
          <p:cNvSpPr/>
          <p:nvPr/>
        </p:nvSpPr>
        <p:spPr>
          <a:xfrm>
            <a:off x="6095292" y="3055287"/>
            <a:ext cx="1304723" cy="660562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16947" h="666750">
                <a:moveTo>
                  <a:pt x="3175" y="114300"/>
                </a:moveTo>
                <a:lnTo>
                  <a:pt x="964522" y="0"/>
                </a:lnTo>
                <a:lnTo>
                  <a:pt x="1316947" y="438150"/>
                </a:lnTo>
                <a:lnTo>
                  <a:pt x="0" y="666750"/>
                </a:lnTo>
                <a:cubicBezTo>
                  <a:pt x="1058" y="482600"/>
                  <a:pt x="2117" y="298450"/>
                  <a:pt x="3175" y="11430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64177160-1F8B-8202-DB26-B604CA2CECA1}"/>
              </a:ext>
            </a:extLst>
          </p:cNvPr>
          <p:cNvSpPr/>
          <p:nvPr/>
        </p:nvSpPr>
        <p:spPr>
          <a:xfrm flipH="1">
            <a:off x="4811246" y="3030123"/>
            <a:ext cx="1296629" cy="685726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3175 w 1316947"/>
              <a:gd name="connsiteY0" fmla="*/ 139700 h 692150"/>
              <a:gd name="connsiteX1" fmla="*/ 817351 w 1316947"/>
              <a:gd name="connsiteY1" fmla="*/ 0 h 692150"/>
              <a:gd name="connsiteX2" fmla="*/ 1316947 w 1316947"/>
              <a:gd name="connsiteY2" fmla="*/ 463550 h 692150"/>
              <a:gd name="connsiteX3" fmla="*/ 0 w 1316947"/>
              <a:gd name="connsiteY3" fmla="*/ 692150 h 692150"/>
              <a:gd name="connsiteX4" fmla="*/ 3175 w 1316947"/>
              <a:gd name="connsiteY4" fmla="*/ 139700 h 692150"/>
              <a:gd name="connsiteX0" fmla="*/ 3175 w 840003"/>
              <a:gd name="connsiteY0" fmla="*/ 139700 h 692150"/>
              <a:gd name="connsiteX1" fmla="*/ 817351 w 840003"/>
              <a:gd name="connsiteY1" fmla="*/ 0 h 692150"/>
              <a:gd name="connsiteX2" fmla="*/ 840003 w 840003"/>
              <a:gd name="connsiteY2" fmla="*/ 368300 h 692150"/>
              <a:gd name="connsiteX3" fmla="*/ 0 w 840003"/>
              <a:gd name="connsiteY3" fmla="*/ 692150 h 692150"/>
              <a:gd name="connsiteX4" fmla="*/ 3175 w 840003"/>
              <a:gd name="connsiteY4" fmla="*/ 139700 h 692150"/>
              <a:gd name="connsiteX0" fmla="*/ 3175 w 1123444"/>
              <a:gd name="connsiteY0" fmla="*/ 139700 h 692150"/>
              <a:gd name="connsiteX1" fmla="*/ 817351 w 1123444"/>
              <a:gd name="connsiteY1" fmla="*/ 0 h 692150"/>
              <a:gd name="connsiteX2" fmla="*/ 1123444 w 1123444"/>
              <a:gd name="connsiteY2" fmla="*/ 428625 h 692150"/>
              <a:gd name="connsiteX3" fmla="*/ 0 w 1123444"/>
              <a:gd name="connsiteY3" fmla="*/ 692150 h 692150"/>
              <a:gd name="connsiteX4" fmla="*/ 3175 w 1123444"/>
              <a:gd name="connsiteY4" fmla="*/ 139700 h 69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3444" h="692150">
                <a:moveTo>
                  <a:pt x="3175" y="139700"/>
                </a:moveTo>
                <a:lnTo>
                  <a:pt x="817351" y="0"/>
                </a:lnTo>
                <a:lnTo>
                  <a:pt x="1123444" y="428625"/>
                </a:lnTo>
                <a:lnTo>
                  <a:pt x="0" y="692150"/>
                </a:lnTo>
                <a:cubicBezTo>
                  <a:pt x="1058" y="508000"/>
                  <a:pt x="2117" y="323850"/>
                  <a:pt x="3175" y="139700"/>
                </a:cubicBezTo>
                <a:close/>
              </a:path>
            </a:pathLst>
          </a:custGeom>
          <a:solidFill>
            <a:srgbClr val="A2D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Isosceles Triangle 3">
            <a:extLst>
              <a:ext uri="{FF2B5EF4-FFF2-40B4-BE49-F238E27FC236}">
                <a16:creationId xmlns:a16="http://schemas.microsoft.com/office/drawing/2014/main" id="{CAEDC555-BC36-7C09-A0CB-D70841B3F656}"/>
              </a:ext>
            </a:extLst>
          </p:cNvPr>
          <p:cNvSpPr/>
          <p:nvPr/>
        </p:nvSpPr>
        <p:spPr>
          <a:xfrm>
            <a:off x="5201808" y="1854063"/>
            <a:ext cx="906067" cy="1235335"/>
          </a:xfrm>
          <a:custGeom>
            <a:avLst/>
            <a:gdLst>
              <a:gd name="connsiteX0" fmla="*/ 0 w 697570"/>
              <a:gd name="connsiteY0" fmla="*/ 1163782 h 1163782"/>
              <a:gd name="connsiteX1" fmla="*/ 348785 w 697570"/>
              <a:gd name="connsiteY1" fmla="*/ 0 h 1163782"/>
              <a:gd name="connsiteX2" fmla="*/ 697570 w 697570"/>
              <a:gd name="connsiteY2" fmla="*/ 1163782 h 1163782"/>
              <a:gd name="connsiteX3" fmla="*/ 0 w 697570"/>
              <a:gd name="connsiteY3" fmla="*/ 1163782 h 1163782"/>
              <a:gd name="connsiteX0" fmla="*/ 0 w 863824"/>
              <a:gd name="connsiteY0" fmla="*/ 1151907 h 1163782"/>
              <a:gd name="connsiteX1" fmla="*/ 515039 w 863824"/>
              <a:gd name="connsiteY1" fmla="*/ 0 h 1163782"/>
              <a:gd name="connsiteX2" fmla="*/ 863824 w 863824"/>
              <a:gd name="connsiteY2" fmla="*/ 1163782 h 1163782"/>
              <a:gd name="connsiteX3" fmla="*/ 0 w 863824"/>
              <a:gd name="connsiteY3" fmla="*/ 1151907 h 1163782"/>
              <a:gd name="connsiteX0" fmla="*/ 0 w 911325"/>
              <a:gd name="connsiteY0" fmla="*/ 1151907 h 1258785"/>
              <a:gd name="connsiteX1" fmla="*/ 515039 w 911325"/>
              <a:gd name="connsiteY1" fmla="*/ 0 h 1258785"/>
              <a:gd name="connsiteX2" fmla="*/ 911325 w 911325"/>
              <a:gd name="connsiteY2" fmla="*/ 1258785 h 1258785"/>
              <a:gd name="connsiteX3" fmla="*/ 0 w 911325"/>
              <a:gd name="connsiteY3" fmla="*/ 1151907 h 1258785"/>
              <a:gd name="connsiteX0" fmla="*/ 0 w 911325"/>
              <a:gd name="connsiteY0" fmla="*/ 1140031 h 1246909"/>
              <a:gd name="connsiteX1" fmla="*/ 871298 w 911325"/>
              <a:gd name="connsiteY1" fmla="*/ 0 h 1246909"/>
              <a:gd name="connsiteX2" fmla="*/ 911325 w 911325"/>
              <a:gd name="connsiteY2" fmla="*/ 1246909 h 1246909"/>
              <a:gd name="connsiteX3" fmla="*/ 0 w 911325"/>
              <a:gd name="connsiteY3" fmla="*/ 1140031 h 1246909"/>
              <a:gd name="connsiteX0" fmla="*/ 0 w 943131"/>
              <a:gd name="connsiteY0" fmla="*/ 1124128 h 1246909"/>
              <a:gd name="connsiteX1" fmla="*/ 903104 w 943131"/>
              <a:gd name="connsiteY1" fmla="*/ 0 h 1246909"/>
              <a:gd name="connsiteX2" fmla="*/ 943131 w 943131"/>
              <a:gd name="connsiteY2" fmla="*/ 1246909 h 1246909"/>
              <a:gd name="connsiteX3" fmla="*/ 0 w 943131"/>
              <a:gd name="connsiteY3" fmla="*/ 1124128 h 1246909"/>
              <a:gd name="connsiteX0" fmla="*/ 0 w 914556"/>
              <a:gd name="connsiteY0" fmla="*/ 1124128 h 1246909"/>
              <a:gd name="connsiteX1" fmla="*/ 903104 w 914556"/>
              <a:gd name="connsiteY1" fmla="*/ 0 h 1246909"/>
              <a:gd name="connsiteX2" fmla="*/ 914556 w 914556"/>
              <a:gd name="connsiteY2" fmla="*/ 1246909 h 1246909"/>
              <a:gd name="connsiteX3" fmla="*/ 0 w 914556"/>
              <a:gd name="connsiteY3" fmla="*/ 1124128 h 124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556" h="1246909">
                <a:moveTo>
                  <a:pt x="0" y="1124128"/>
                </a:moveTo>
                <a:lnTo>
                  <a:pt x="903104" y="0"/>
                </a:lnTo>
                <a:lnTo>
                  <a:pt x="914556" y="1246909"/>
                </a:lnTo>
                <a:lnTo>
                  <a:pt x="0" y="112412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Isosceles Triangle 3">
            <a:extLst>
              <a:ext uri="{FF2B5EF4-FFF2-40B4-BE49-F238E27FC236}">
                <a16:creationId xmlns:a16="http://schemas.microsoft.com/office/drawing/2014/main" id="{941BC6E7-C7C5-E3A3-990A-FCCB45D27647}"/>
              </a:ext>
            </a:extLst>
          </p:cNvPr>
          <p:cNvSpPr/>
          <p:nvPr/>
        </p:nvSpPr>
        <p:spPr>
          <a:xfrm>
            <a:off x="6095359" y="1860552"/>
            <a:ext cx="945486" cy="1225483"/>
          </a:xfrm>
          <a:custGeom>
            <a:avLst/>
            <a:gdLst>
              <a:gd name="connsiteX0" fmla="*/ 0 w 697570"/>
              <a:gd name="connsiteY0" fmla="*/ 1163782 h 1163782"/>
              <a:gd name="connsiteX1" fmla="*/ 348785 w 697570"/>
              <a:gd name="connsiteY1" fmla="*/ 0 h 1163782"/>
              <a:gd name="connsiteX2" fmla="*/ 697570 w 697570"/>
              <a:gd name="connsiteY2" fmla="*/ 1163782 h 1163782"/>
              <a:gd name="connsiteX3" fmla="*/ 0 w 697570"/>
              <a:gd name="connsiteY3" fmla="*/ 1163782 h 1163782"/>
              <a:gd name="connsiteX0" fmla="*/ 0 w 863824"/>
              <a:gd name="connsiteY0" fmla="*/ 1151907 h 1163782"/>
              <a:gd name="connsiteX1" fmla="*/ 515039 w 863824"/>
              <a:gd name="connsiteY1" fmla="*/ 0 h 1163782"/>
              <a:gd name="connsiteX2" fmla="*/ 863824 w 863824"/>
              <a:gd name="connsiteY2" fmla="*/ 1163782 h 1163782"/>
              <a:gd name="connsiteX3" fmla="*/ 0 w 863824"/>
              <a:gd name="connsiteY3" fmla="*/ 1151907 h 1163782"/>
              <a:gd name="connsiteX0" fmla="*/ 0 w 911325"/>
              <a:gd name="connsiteY0" fmla="*/ 1151907 h 1258785"/>
              <a:gd name="connsiteX1" fmla="*/ 515039 w 911325"/>
              <a:gd name="connsiteY1" fmla="*/ 0 h 1258785"/>
              <a:gd name="connsiteX2" fmla="*/ 911325 w 911325"/>
              <a:gd name="connsiteY2" fmla="*/ 1258785 h 1258785"/>
              <a:gd name="connsiteX3" fmla="*/ 0 w 911325"/>
              <a:gd name="connsiteY3" fmla="*/ 1151907 h 1258785"/>
              <a:gd name="connsiteX0" fmla="*/ 0 w 911325"/>
              <a:gd name="connsiteY0" fmla="*/ 1140031 h 1246909"/>
              <a:gd name="connsiteX1" fmla="*/ 871298 w 911325"/>
              <a:gd name="connsiteY1" fmla="*/ 0 h 1246909"/>
              <a:gd name="connsiteX2" fmla="*/ 911325 w 911325"/>
              <a:gd name="connsiteY2" fmla="*/ 1246909 h 1246909"/>
              <a:gd name="connsiteX3" fmla="*/ 0 w 911325"/>
              <a:gd name="connsiteY3" fmla="*/ 1140031 h 1246909"/>
              <a:gd name="connsiteX0" fmla="*/ 0 w 943131"/>
              <a:gd name="connsiteY0" fmla="*/ 1124128 h 1246909"/>
              <a:gd name="connsiteX1" fmla="*/ 903104 w 943131"/>
              <a:gd name="connsiteY1" fmla="*/ 0 h 1246909"/>
              <a:gd name="connsiteX2" fmla="*/ 943131 w 943131"/>
              <a:gd name="connsiteY2" fmla="*/ 1246909 h 1246909"/>
              <a:gd name="connsiteX3" fmla="*/ 0 w 943131"/>
              <a:gd name="connsiteY3" fmla="*/ 1124128 h 1246909"/>
              <a:gd name="connsiteX0" fmla="*/ 146468 w 1089599"/>
              <a:gd name="connsiteY0" fmla="*/ 1307008 h 1429789"/>
              <a:gd name="connsiteX1" fmla="*/ 0 w 1089599"/>
              <a:gd name="connsiteY1" fmla="*/ 0 h 1429789"/>
              <a:gd name="connsiteX2" fmla="*/ 1089599 w 1089599"/>
              <a:gd name="connsiteY2" fmla="*/ 1429789 h 1429789"/>
              <a:gd name="connsiteX3" fmla="*/ 146468 w 1089599"/>
              <a:gd name="connsiteY3" fmla="*/ 1307008 h 1429789"/>
              <a:gd name="connsiteX0" fmla="*/ 11295 w 1089599"/>
              <a:gd name="connsiteY0" fmla="*/ 1195690 h 1429789"/>
              <a:gd name="connsiteX1" fmla="*/ 0 w 1089599"/>
              <a:gd name="connsiteY1" fmla="*/ 0 h 1429789"/>
              <a:gd name="connsiteX2" fmla="*/ 1089599 w 1089599"/>
              <a:gd name="connsiteY2" fmla="*/ 1429789 h 1429789"/>
              <a:gd name="connsiteX3" fmla="*/ 11295 w 1089599"/>
              <a:gd name="connsiteY3" fmla="*/ 1195690 h 1429789"/>
              <a:gd name="connsiteX0" fmla="*/ 11295 w 906719"/>
              <a:gd name="connsiteY0" fmla="*/ 1195690 h 1195690"/>
              <a:gd name="connsiteX1" fmla="*/ 0 w 906719"/>
              <a:gd name="connsiteY1" fmla="*/ 0 h 1195690"/>
              <a:gd name="connsiteX2" fmla="*/ 906719 w 906719"/>
              <a:gd name="connsiteY2" fmla="*/ 1103785 h 1195690"/>
              <a:gd name="connsiteX3" fmla="*/ 11295 w 906719"/>
              <a:gd name="connsiteY3" fmla="*/ 1195690 h 1195690"/>
              <a:gd name="connsiteX0" fmla="*/ 106545 w 906719"/>
              <a:gd name="connsiteY0" fmla="*/ 1208390 h 1208390"/>
              <a:gd name="connsiteX1" fmla="*/ 0 w 906719"/>
              <a:gd name="connsiteY1" fmla="*/ 0 h 1208390"/>
              <a:gd name="connsiteX2" fmla="*/ 906719 w 906719"/>
              <a:gd name="connsiteY2" fmla="*/ 1103785 h 1208390"/>
              <a:gd name="connsiteX3" fmla="*/ 106545 w 906719"/>
              <a:gd name="connsiteY3" fmla="*/ 1208390 h 1208390"/>
              <a:gd name="connsiteX0" fmla="*/ 17645 w 906719"/>
              <a:gd name="connsiteY0" fmla="*/ 1214740 h 1214740"/>
              <a:gd name="connsiteX1" fmla="*/ 0 w 906719"/>
              <a:gd name="connsiteY1" fmla="*/ 0 h 1214740"/>
              <a:gd name="connsiteX2" fmla="*/ 906719 w 906719"/>
              <a:gd name="connsiteY2" fmla="*/ 1103785 h 1214740"/>
              <a:gd name="connsiteX3" fmla="*/ 17645 w 906719"/>
              <a:gd name="connsiteY3" fmla="*/ 1214740 h 1214740"/>
              <a:gd name="connsiteX0" fmla="*/ 17645 w 938469"/>
              <a:gd name="connsiteY0" fmla="*/ 1214740 h 1214740"/>
              <a:gd name="connsiteX1" fmla="*/ 0 w 938469"/>
              <a:gd name="connsiteY1" fmla="*/ 0 h 1214740"/>
              <a:gd name="connsiteX2" fmla="*/ 938469 w 938469"/>
              <a:gd name="connsiteY2" fmla="*/ 1129185 h 1214740"/>
              <a:gd name="connsiteX3" fmla="*/ 17645 w 938469"/>
              <a:gd name="connsiteY3" fmla="*/ 1214740 h 1214740"/>
              <a:gd name="connsiteX0" fmla="*/ 36695 w 957519"/>
              <a:gd name="connsiteY0" fmla="*/ 1227440 h 1227440"/>
              <a:gd name="connsiteX1" fmla="*/ 0 w 957519"/>
              <a:gd name="connsiteY1" fmla="*/ 0 h 1227440"/>
              <a:gd name="connsiteX2" fmla="*/ 957519 w 957519"/>
              <a:gd name="connsiteY2" fmla="*/ 1141885 h 1227440"/>
              <a:gd name="connsiteX3" fmla="*/ 36695 w 957519"/>
              <a:gd name="connsiteY3" fmla="*/ 1227440 h 1227440"/>
              <a:gd name="connsiteX0" fmla="*/ 306570 w 957519"/>
              <a:gd name="connsiteY0" fmla="*/ 1081390 h 1141885"/>
              <a:gd name="connsiteX1" fmla="*/ 0 w 957519"/>
              <a:gd name="connsiteY1" fmla="*/ 0 h 1141885"/>
              <a:gd name="connsiteX2" fmla="*/ 957519 w 957519"/>
              <a:gd name="connsiteY2" fmla="*/ 1141885 h 1141885"/>
              <a:gd name="connsiteX3" fmla="*/ 306570 w 957519"/>
              <a:gd name="connsiteY3" fmla="*/ 1081390 h 1141885"/>
              <a:gd name="connsiteX0" fmla="*/ 39870 w 957519"/>
              <a:gd name="connsiteY0" fmla="*/ 1236965 h 1236965"/>
              <a:gd name="connsiteX1" fmla="*/ 0 w 957519"/>
              <a:gd name="connsiteY1" fmla="*/ 0 h 1236965"/>
              <a:gd name="connsiteX2" fmla="*/ 957519 w 957519"/>
              <a:gd name="connsiteY2" fmla="*/ 1141885 h 1236965"/>
              <a:gd name="connsiteX3" fmla="*/ 39870 w 957519"/>
              <a:gd name="connsiteY3" fmla="*/ 1236965 h 1236965"/>
              <a:gd name="connsiteX0" fmla="*/ 0 w 917649"/>
              <a:gd name="connsiteY0" fmla="*/ 1214740 h 1214740"/>
              <a:gd name="connsiteX1" fmla="*/ 398280 w 917649"/>
              <a:gd name="connsiteY1" fmla="*/ 0 h 1214740"/>
              <a:gd name="connsiteX2" fmla="*/ 917649 w 917649"/>
              <a:gd name="connsiteY2" fmla="*/ 1119660 h 1214740"/>
              <a:gd name="connsiteX3" fmla="*/ 0 w 917649"/>
              <a:gd name="connsiteY3" fmla="*/ 1214740 h 1214740"/>
              <a:gd name="connsiteX0" fmla="*/ 0 w 917649"/>
              <a:gd name="connsiteY0" fmla="*/ 973440 h 973440"/>
              <a:gd name="connsiteX1" fmla="*/ 77605 w 917649"/>
              <a:gd name="connsiteY1" fmla="*/ 0 h 973440"/>
              <a:gd name="connsiteX2" fmla="*/ 917649 w 917649"/>
              <a:gd name="connsiteY2" fmla="*/ 878360 h 973440"/>
              <a:gd name="connsiteX3" fmla="*/ 0 w 917649"/>
              <a:gd name="connsiteY3" fmla="*/ 973440 h 973440"/>
              <a:gd name="connsiteX0" fmla="*/ 36695 w 954344"/>
              <a:gd name="connsiteY0" fmla="*/ 1240140 h 1240140"/>
              <a:gd name="connsiteX1" fmla="*/ 0 w 954344"/>
              <a:gd name="connsiteY1" fmla="*/ 0 h 1240140"/>
              <a:gd name="connsiteX2" fmla="*/ 954344 w 954344"/>
              <a:gd name="connsiteY2" fmla="*/ 1145060 h 1240140"/>
              <a:gd name="connsiteX3" fmla="*/ 36695 w 954344"/>
              <a:gd name="connsiteY3" fmla="*/ 1240140 h 1240140"/>
              <a:gd name="connsiteX0" fmla="*/ 8120 w 954344"/>
              <a:gd name="connsiteY0" fmla="*/ 1236965 h 1236965"/>
              <a:gd name="connsiteX1" fmla="*/ 0 w 954344"/>
              <a:gd name="connsiteY1" fmla="*/ 0 h 1236965"/>
              <a:gd name="connsiteX2" fmla="*/ 954344 w 954344"/>
              <a:gd name="connsiteY2" fmla="*/ 1145060 h 1236965"/>
              <a:gd name="connsiteX3" fmla="*/ 8120 w 954344"/>
              <a:gd name="connsiteY3" fmla="*/ 1236965 h 123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4344" h="1236965">
                <a:moveTo>
                  <a:pt x="8120" y="1236965"/>
                </a:moveTo>
                <a:cubicBezTo>
                  <a:pt x="5413" y="824643"/>
                  <a:pt x="2707" y="412322"/>
                  <a:pt x="0" y="0"/>
                </a:cubicBezTo>
                <a:lnTo>
                  <a:pt x="954344" y="1145060"/>
                </a:lnTo>
                <a:lnTo>
                  <a:pt x="8120" y="1236965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46E98DE-FD12-1DDB-C7A8-0CD9E296DF13}"/>
              </a:ext>
            </a:extLst>
          </p:cNvPr>
          <p:cNvSpPr txBox="1"/>
          <p:nvPr/>
        </p:nvSpPr>
        <p:spPr>
          <a:xfrm>
            <a:off x="8048146" y="2751731"/>
            <a:ext cx="3589113" cy="951663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64C9B60-3C33-1F66-F002-C08FB3E8DB46}"/>
              </a:ext>
            </a:extLst>
          </p:cNvPr>
          <p:cNvSpPr txBox="1"/>
          <p:nvPr/>
        </p:nvSpPr>
        <p:spPr>
          <a:xfrm>
            <a:off x="8795658" y="3803605"/>
            <a:ext cx="2841602" cy="951663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BF7D01D-06B4-0A9F-B9BC-334C88C5127B}"/>
              </a:ext>
            </a:extLst>
          </p:cNvPr>
          <p:cNvSpPr txBox="1"/>
          <p:nvPr/>
        </p:nvSpPr>
        <p:spPr>
          <a:xfrm>
            <a:off x="554732" y="1995898"/>
            <a:ext cx="3589113" cy="951663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A773A91-5A52-F3D8-862D-AF7C53B157B1}"/>
              </a:ext>
            </a:extLst>
          </p:cNvPr>
          <p:cNvSpPr txBox="1"/>
          <p:nvPr/>
        </p:nvSpPr>
        <p:spPr>
          <a:xfrm>
            <a:off x="554732" y="3282575"/>
            <a:ext cx="3426425" cy="951663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E03D660-02BA-30EF-75F6-49E4D65EE5A5}"/>
              </a:ext>
            </a:extLst>
          </p:cNvPr>
          <p:cNvSpPr txBox="1"/>
          <p:nvPr/>
        </p:nvSpPr>
        <p:spPr>
          <a:xfrm>
            <a:off x="553621" y="4783794"/>
            <a:ext cx="2842713" cy="951663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2771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0533A65F-84F2-C195-C62D-A259342B46D4}"/>
              </a:ext>
            </a:extLst>
          </p:cNvPr>
          <p:cNvSpPr/>
          <p:nvPr/>
        </p:nvSpPr>
        <p:spPr>
          <a:xfrm>
            <a:off x="3177814" y="4605633"/>
            <a:ext cx="2530021" cy="1614069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7086 w 1316947"/>
              <a:gd name="connsiteY0" fmla="*/ 224719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7086 w 1316947"/>
              <a:gd name="connsiteY4" fmla="*/ 224719 h 666750"/>
              <a:gd name="connsiteX0" fmla="*/ 3175 w 1313036"/>
              <a:gd name="connsiteY0" fmla="*/ 224719 h 777169"/>
              <a:gd name="connsiteX1" fmla="*/ 960611 w 1313036"/>
              <a:gd name="connsiteY1" fmla="*/ 0 h 777169"/>
              <a:gd name="connsiteX2" fmla="*/ 1313036 w 1313036"/>
              <a:gd name="connsiteY2" fmla="*/ 438150 h 777169"/>
              <a:gd name="connsiteX3" fmla="*/ 0 w 1313036"/>
              <a:gd name="connsiteY3" fmla="*/ 777169 h 777169"/>
              <a:gd name="connsiteX4" fmla="*/ 3175 w 1313036"/>
              <a:gd name="connsiteY4" fmla="*/ 224719 h 777169"/>
              <a:gd name="connsiteX0" fmla="*/ 3175 w 1219167"/>
              <a:gd name="connsiteY0" fmla="*/ 224719 h 777169"/>
              <a:gd name="connsiteX1" fmla="*/ 960611 w 1219167"/>
              <a:gd name="connsiteY1" fmla="*/ 0 h 777169"/>
              <a:gd name="connsiteX2" fmla="*/ 1219167 w 1219167"/>
              <a:gd name="connsiteY2" fmla="*/ 418074 h 777169"/>
              <a:gd name="connsiteX3" fmla="*/ 0 w 1219167"/>
              <a:gd name="connsiteY3" fmla="*/ 777169 h 777169"/>
              <a:gd name="connsiteX4" fmla="*/ 3175 w 1219167"/>
              <a:gd name="connsiteY4" fmla="*/ 224719 h 777169"/>
              <a:gd name="connsiteX0" fmla="*/ 3175 w 1168321"/>
              <a:gd name="connsiteY0" fmla="*/ 224719 h 777169"/>
              <a:gd name="connsiteX1" fmla="*/ 960611 w 1168321"/>
              <a:gd name="connsiteY1" fmla="*/ 0 h 777169"/>
              <a:gd name="connsiteX2" fmla="*/ 1168321 w 1168321"/>
              <a:gd name="connsiteY2" fmla="*/ 337769 h 777169"/>
              <a:gd name="connsiteX3" fmla="*/ 0 w 1168321"/>
              <a:gd name="connsiteY3" fmla="*/ 777169 h 777169"/>
              <a:gd name="connsiteX4" fmla="*/ 3175 w 1168321"/>
              <a:gd name="connsiteY4" fmla="*/ 224719 h 777169"/>
              <a:gd name="connsiteX0" fmla="*/ 3175 w 1203522"/>
              <a:gd name="connsiteY0" fmla="*/ 224719 h 777169"/>
              <a:gd name="connsiteX1" fmla="*/ 960611 w 1203522"/>
              <a:gd name="connsiteY1" fmla="*/ 0 h 777169"/>
              <a:gd name="connsiteX2" fmla="*/ 1203522 w 1203522"/>
              <a:gd name="connsiteY2" fmla="*/ 387960 h 777169"/>
              <a:gd name="connsiteX3" fmla="*/ 0 w 1203522"/>
              <a:gd name="connsiteY3" fmla="*/ 777169 h 777169"/>
              <a:gd name="connsiteX4" fmla="*/ 3175 w 1203522"/>
              <a:gd name="connsiteY4" fmla="*/ 224719 h 777169"/>
              <a:gd name="connsiteX0" fmla="*/ 9 w 1200356"/>
              <a:gd name="connsiteY0" fmla="*/ 224719 h 636636"/>
              <a:gd name="connsiteX1" fmla="*/ 957445 w 1200356"/>
              <a:gd name="connsiteY1" fmla="*/ 0 h 636636"/>
              <a:gd name="connsiteX2" fmla="*/ 1200356 w 1200356"/>
              <a:gd name="connsiteY2" fmla="*/ 387960 h 636636"/>
              <a:gd name="connsiteX3" fmla="*/ 90703 w 1200356"/>
              <a:gd name="connsiteY3" fmla="*/ 636636 h 636636"/>
              <a:gd name="connsiteX4" fmla="*/ 9 w 1200356"/>
              <a:gd name="connsiteY4" fmla="*/ 224719 h 636636"/>
              <a:gd name="connsiteX0" fmla="*/ 239 w 1200586"/>
              <a:gd name="connsiteY0" fmla="*/ 224719 h 762112"/>
              <a:gd name="connsiteX1" fmla="*/ 957675 w 1200586"/>
              <a:gd name="connsiteY1" fmla="*/ 0 h 762112"/>
              <a:gd name="connsiteX2" fmla="*/ 1200586 w 1200586"/>
              <a:gd name="connsiteY2" fmla="*/ 387960 h 762112"/>
              <a:gd name="connsiteX3" fmla="*/ 975 w 1200586"/>
              <a:gd name="connsiteY3" fmla="*/ 762112 h 762112"/>
              <a:gd name="connsiteX4" fmla="*/ 239 w 1200586"/>
              <a:gd name="connsiteY4" fmla="*/ 224719 h 762112"/>
              <a:gd name="connsiteX0" fmla="*/ 30790 w 1199611"/>
              <a:gd name="connsiteY0" fmla="*/ 305630 h 762112"/>
              <a:gd name="connsiteX1" fmla="*/ 956700 w 1199611"/>
              <a:gd name="connsiteY1" fmla="*/ 0 h 762112"/>
              <a:gd name="connsiteX2" fmla="*/ 1199611 w 1199611"/>
              <a:gd name="connsiteY2" fmla="*/ 387960 h 762112"/>
              <a:gd name="connsiteX3" fmla="*/ 0 w 1199611"/>
              <a:gd name="connsiteY3" fmla="*/ 762112 h 762112"/>
              <a:gd name="connsiteX4" fmla="*/ 30790 w 1199611"/>
              <a:gd name="connsiteY4" fmla="*/ 305630 h 762112"/>
              <a:gd name="connsiteX0" fmla="*/ 79 w 1207432"/>
              <a:gd name="connsiteY0" fmla="*/ 242700 h 762112"/>
              <a:gd name="connsiteX1" fmla="*/ 964521 w 1207432"/>
              <a:gd name="connsiteY1" fmla="*/ 0 h 762112"/>
              <a:gd name="connsiteX2" fmla="*/ 1207432 w 1207432"/>
              <a:gd name="connsiteY2" fmla="*/ 387960 h 762112"/>
              <a:gd name="connsiteX3" fmla="*/ 7821 w 1207432"/>
              <a:gd name="connsiteY3" fmla="*/ 762112 h 762112"/>
              <a:gd name="connsiteX4" fmla="*/ 79 w 1207432"/>
              <a:gd name="connsiteY4" fmla="*/ 242700 h 762112"/>
              <a:gd name="connsiteX0" fmla="*/ 119 w 1207472"/>
              <a:gd name="connsiteY0" fmla="*/ 242700 h 789082"/>
              <a:gd name="connsiteX1" fmla="*/ 964561 w 1207472"/>
              <a:gd name="connsiteY1" fmla="*/ 0 h 789082"/>
              <a:gd name="connsiteX2" fmla="*/ 1207472 w 1207472"/>
              <a:gd name="connsiteY2" fmla="*/ 387960 h 789082"/>
              <a:gd name="connsiteX3" fmla="*/ 4358 w 1207472"/>
              <a:gd name="connsiteY3" fmla="*/ 789082 h 789082"/>
              <a:gd name="connsiteX4" fmla="*/ 119 w 1207472"/>
              <a:gd name="connsiteY4" fmla="*/ 242700 h 789082"/>
              <a:gd name="connsiteX0" fmla="*/ 119 w 1272816"/>
              <a:gd name="connsiteY0" fmla="*/ 502064 h 1048446"/>
              <a:gd name="connsiteX1" fmla="*/ 1272816 w 1272816"/>
              <a:gd name="connsiteY1" fmla="*/ 0 h 1048446"/>
              <a:gd name="connsiteX2" fmla="*/ 1207472 w 1272816"/>
              <a:gd name="connsiteY2" fmla="*/ 647324 h 1048446"/>
              <a:gd name="connsiteX3" fmla="*/ 4358 w 1272816"/>
              <a:gd name="connsiteY3" fmla="*/ 1048446 h 1048446"/>
              <a:gd name="connsiteX4" fmla="*/ 119 w 1272816"/>
              <a:gd name="connsiteY4" fmla="*/ 502064 h 1048446"/>
              <a:gd name="connsiteX0" fmla="*/ 119 w 1501714"/>
              <a:gd name="connsiteY0" fmla="*/ 502064 h 1048446"/>
              <a:gd name="connsiteX1" fmla="*/ 1272816 w 1501714"/>
              <a:gd name="connsiteY1" fmla="*/ 0 h 1048446"/>
              <a:gd name="connsiteX2" fmla="*/ 1501714 w 1501714"/>
              <a:gd name="connsiteY2" fmla="*/ 364803 h 1048446"/>
              <a:gd name="connsiteX3" fmla="*/ 4358 w 1501714"/>
              <a:gd name="connsiteY3" fmla="*/ 1048446 h 1048446"/>
              <a:gd name="connsiteX4" fmla="*/ 119 w 1501714"/>
              <a:gd name="connsiteY4" fmla="*/ 502064 h 1048446"/>
              <a:gd name="connsiteX0" fmla="*/ 24 w 1501619"/>
              <a:gd name="connsiteY0" fmla="*/ 502064 h 1071604"/>
              <a:gd name="connsiteX1" fmla="*/ 1272721 w 1501619"/>
              <a:gd name="connsiteY1" fmla="*/ 0 h 1071604"/>
              <a:gd name="connsiteX2" fmla="*/ 1501619 w 1501619"/>
              <a:gd name="connsiteY2" fmla="*/ 364803 h 1071604"/>
              <a:gd name="connsiteX3" fmla="*/ 32286 w 1501619"/>
              <a:gd name="connsiteY3" fmla="*/ 1071604 h 1071604"/>
              <a:gd name="connsiteX4" fmla="*/ 24 w 1501619"/>
              <a:gd name="connsiteY4" fmla="*/ 502064 h 1071604"/>
              <a:gd name="connsiteX0" fmla="*/ 48 w 1484129"/>
              <a:gd name="connsiteY0" fmla="*/ 488169 h 1071604"/>
              <a:gd name="connsiteX1" fmla="*/ 1255231 w 1484129"/>
              <a:gd name="connsiteY1" fmla="*/ 0 h 1071604"/>
              <a:gd name="connsiteX2" fmla="*/ 1484129 w 1484129"/>
              <a:gd name="connsiteY2" fmla="*/ 364803 h 1071604"/>
              <a:gd name="connsiteX3" fmla="*/ 14796 w 1484129"/>
              <a:gd name="connsiteY3" fmla="*/ 1071604 h 1071604"/>
              <a:gd name="connsiteX4" fmla="*/ 48 w 1484129"/>
              <a:gd name="connsiteY4" fmla="*/ 488169 h 1071604"/>
              <a:gd name="connsiteX0" fmla="*/ 0 w 1484081"/>
              <a:gd name="connsiteY0" fmla="*/ 488169 h 1071604"/>
              <a:gd name="connsiteX1" fmla="*/ 1255183 w 1484081"/>
              <a:gd name="connsiteY1" fmla="*/ 0 h 1071604"/>
              <a:gd name="connsiteX2" fmla="*/ 1484081 w 1484081"/>
              <a:gd name="connsiteY2" fmla="*/ 364803 h 1071604"/>
              <a:gd name="connsiteX3" fmla="*/ 14748 w 1484081"/>
              <a:gd name="connsiteY3" fmla="*/ 1071604 h 1071604"/>
              <a:gd name="connsiteX4" fmla="*/ 0 w 1484081"/>
              <a:gd name="connsiteY4" fmla="*/ 488169 h 1071604"/>
              <a:gd name="connsiteX0" fmla="*/ 0 w 1484081"/>
              <a:gd name="connsiteY0" fmla="*/ 488169 h 1071604"/>
              <a:gd name="connsiteX1" fmla="*/ 1255183 w 1484081"/>
              <a:gd name="connsiteY1" fmla="*/ 0 h 1071604"/>
              <a:gd name="connsiteX2" fmla="*/ 1484081 w 1484081"/>
              <a:gd name="connsiteY2" fmla="*/ 364803 h 1071604"/>
              <a:gd name="connsiteX3" fmla="*/ 14748 w 1484081"/>
              <a:gd name="connsiteY3" fmla="*/ 1071604 h 1071604"/>
              <a:gd name="connsiteX4" fmla="*/ 0 w 1484081"/>
              <a:gd name="connsiteY4" fmla="*/ 488169 h 1071604"/>
              <a:gd name="connsiteX0" fmla="*/ 0 w 1536178"/>
              <a:gd name="connsiteY0" fmla="*/ 791784 h 1375219"/>
              <a:gd name="connsiteX1" fmla="*/ 1536178 w 1536178"/>
              <a:gd name="connsiteY1" fmla="*/ 0 h 1375219"/>
              <a:gd name="connsiteX2" fmla="*/ 1484081 w 1536178"/>
              <a:gd name="connsiteY2" fmla="*/ 668418 h 1375219"/>
              <a:gd name="connsiteX3" fmla="*/ 14748 w 1536178"/>
              <a:gd name="connsiteY3" fmla="*/ 1375219 h 1375219"/>
              <a:gd name="connsiteX4" fmla="*/ 0 w 1536178"/>
              <a:gd name="connsiteY4" fmla="*/ 791784 h 1375219"/>
              <a:gd name="connsiteX0" fmla="*/ 0 w 1789247"/>
              <a:gd name="connsiteY0" fmla="*/ 791784 h 1375219"/>
              <a:gd name="connsiteX1" fmla="*/ 1536178 w 1789247"/>
              <a:gd name="connsiteY1" fmla="*/ 0 h 1375219"/>
              <a:gd name="connsiteX2" fmla="*/ 1789247 w 1789247"/>
              <a:gd name="connsiteY2" fmla="*/ 420731 h 1375219"/>
              <a:gd name="connsiteX3" fmla="*/ 14748 w 1789247"/>
              <a:gd name="connsiteY3" fmla="*/ 1375219 h 1375219"/>
              <a:gd name="connsiteX4" fmla="*/ 0 w 1789247"/>
              <a:gd name="connsiteY4" fmla="*/ 791784 h 1375219"/>
              <a:gd name="connsiteX0" fmla="*/ 0 w 1789247"/>
              <a:gd name="connsiteY0" fmla="*/ 791784 h 1463108"/>
              <a:gd name="connsiteX1" fmla="*/ 1536178 w 1789247"/>
              <a:gd name="connsiteY1" fmla="*/ 0 h 1463108"/>
              <a:gd name="connsiteX2" fmla="*/ 1789247 w 1789247"/>
              <a:gd name="connsiteY2" fmla="*/ 420731 h 1463108"/>
              <a:gd name="connsiteX3" fmla="*/ 35898 w 1789247"/>
              <a:gd name="connsiteY3" fmla="*/ 1463108 h 1463108"/>
              <a:gd name="connsiteX4" fmla="*/ 0 w 1789247"/>
              <a:gd name="connsiteY4" fmla="*/ 791784 h 1463108"/>
              <a:gd name="connsiteX0" fmla="*/ 0 w 1789247"/>
              <a:gd name="connsiteY0" fmla="*/ 791784 h 1455117"/>
              <a:gd name="connsiteX1" fmla="*/ 1536178 w 1789247"/>
              <a:gd name="connsiteY1" fmla="*/ 0 h 1455117"/>
              <a:gd name="connsiteX2" fmla="*/ 1789247 w 1789247"/>
              <a:gd name="connsiteY2" fmla="*/ 420731 h 1455117"/>
              <a:gd name="connsiteX3" fmla="*/ 23812 w 1789247"/>
              <a:gd name="connsiteY3" fmla="*/ 1455117 h 1455117"/>
              <a:gd name="connsiteX4" fmla="*/ 0 w 1789247"/>
              <a:gd name="connsiteY4" fmla="*/ 791784 h 1455117"/>
              <a:gd name="connsiteX0" fmla="*/ 0 w 1789247"/>
              <a:gd name="connsiteY0" fmla="*/ 791784 h 1263360"/>
              <a:gd name="connsiteX1" fmla="*/ 1536178 w 1789247"/>
              <a:gd name="connsiteY1" fmla="*/ 0 h 1263360"/>
              <a:gd name="connsiteX2" fmla="*/ 1789247 w 1789247"/>
              <a:gd name="connsiteY2" fmla="*/ 420731 h 1263360"/>
              <a:gd name="connsiteX3" fmla="*/ 135605 w 1789247"/>
              <a:gd name="connsiteY3" fmla="*/ 1263360 h 1263360"/>
              <a:gd name="connsiteX4" fmla="*/ 0 w 1789247"/>
              <a:gd name="connsiteY4" fmla="*/ 791784 h 1263360"/>
              <a:gd name="connsiteX0" fmla="*/ 0 w 1789247"/>
              <a:gd name="connsiteY0" fmla="*/ 791784 h 1471097"/>
              <a:gd name="connsiteX1" fmla="*/ 1536178 w 1789247"/>
              <a:gd name="connsiteY1" fmla="*/ 0 h 1471097"/>
              <a:gd name="connsiteX2" fmla="*/ 1789247 w 1789247"/>
              <a:gd name="connsiteY2" fmla="*/ 420731 h 1471097"/>
              <a:gd name="connsiteX3" fmla="*/ 23812 w 1789247"/>
              <a:gd name="connsiteY3" fmla="*/ 1471097 h 1471097"/>
              <a:gd name="connsiteX4" fmla="*/ 0 w 1789247"/>
              <a:gd name="connsiteY4" fmla="*/ 791784 h 1471097"/>
              <a:gd name="connsiteX0" fmla="*/ 31860 w 1766721"/>
              <a:gd name="connsiteY0" fmla="*/ 851708 h 1471097"/>
              <a:gd name="connsiteX1" fmla="*/ 1513652 w 1766721"/>
              <a:gd name="connsiteY1" fmla="*/ 0 h 1471097"/>
              <a:gd name="connsiteX2" fmla="*/ 1766721 w 1766721"/>
              <a:gd name="connsiteY2" fmla="*/ 420731 h 1471097"/>
              <a:gd name="connsiteX3" fmla="*/ 1286 w 1766721"/>
              <a:gd name="connsiteY3" fmla="*/ 1471097 h 1471097"/>
              <a:gd name="connsiteX4" fmla="*/ 31860 w 1766721"/>
              <a:gd name="connsiteY4" fmla="*/ 851708 h 1471097"/>
              <a:gd name="connsiteX0" fmla="*/ 6090 w 1768144"/>
              <a:gd name="connsiteY0" fmla="*/ 827738 h 1471097"/>
              <a:gd name="connsiteX1" fmla="*/ 1515075 w 1768144"/>
              <a:gd name="connsiteY1" fmla="*/ 0 h 1471097"/>
              <a:gd name="connsiteX2" fmla="*/ 1768144 w 1768144"/>
              <a:gd name="connsiteY2" fmla="*/ 420731 h 1471097"/>
              <a:gd name="connsiteX3" fmla="*/ 2709 w 1768144"/>
              <a:gd name="connsiteY3" fmla="*/ 1471097 h 1471097"/>
              <a:gd name="connsiteX4" fmla="*/ 6090 w 1768144"/>
              <a:gd name="connsiteY4" fmla="*/ 827738 h 1471097"/>
              <a:gd name="connsiteX0" fmla="*/ 0 w 1786225"/>
              <a:gd name="connsiteY0" fmla="*/ 791784 h 1471097"/>
              <a:gd name="connsiteX1" fmla="*/ 1533156 w 1786225"/>
              <a:gd name="connsiteY1" fmla="*/ 0 h 1471097"/>
              <a:gd name="connsiteX2" fmla="*/ 1786225 w 1786225"/>
              <a:gd name="connsiteY2" fmla="*/ 420731 h 1471097"/>
              <a:gd name="connsiteX3" fmla="*/ 20790 w 1786225"/>
              <a:gd name="connsiteY3" fmla="*/ 1471097 h 1471097"/>
              <a:gd name="connsiteX4" fmla="*/ 0 w 1786225"/>
              <a:gd name="connsiteY4" fmla="*/ 791784 h 1471097"/>
              <a:gd name="connsiteX0" fmla="*/ 0 w 1786225"/>
              <a:gd name="connsiteY0" fmla="*/ 791784 h 1419162"/>
              <a:gd name="connsiteX1" fmla="*/ 1533156 w 1786225"/>
              <a:gd name="connsiteY1" fmla="*/ 0 h 1419162"/>
              <a:gd name="connsiteX2" fmla="*/ 1786225 w 1786225"/>
              <a:gd name="connsiteY2" fmla="*/ 420731 h 1419162"/>
              <a:gd name="connsiteX3" fmla="*/ 99348 w 1786225"/>
              <a:gd name="connsiteY3" fmla="*/ 1419162 h 1419162"/>
              <a:gd name="connsiteX4" fmla="*/ 0 w 1786225"/>
              <a:gd name="connsiteY4" fmla="*/ 791784 h 1419162"/>
              <a:gd name="connsiteX0" fmla="*/ 0 w 1786225"/>
              <a:gd name="connsiteY0" fmla="*/ 791784 h 1479086"/>
              <a:gd name="connsiteX1" fmla="*/ 1533156 w 1786225"/>
              <a:gd name="connsiteY1" fmla="*/ 0 h 1479086"/>
              <a:gd name="connsiteX2" fmla="*/ 1786225 w 1786225"/>
              <a:gd name="connsiteY2" fmla="*/ 420731 h 1479086"/>
              <a:gd name="connsiteX3" fmla="*/ 35898 w 1786225"/>
              <a:gd name="connsiteY3" fmla="*/ 1479086 h 1479086"/>
              <a:gd name="connsiteX4" fmla="*/ 0 w 1786225"/>
              <a:gd name="connsiteY4" fmla="*/ 791784 h 1479086"/>
              <a:gd name="connsiteX0" fmla="*/ 0 w 1786225"/>
              <a:gd name="connsiteY0" fmla="*/ 791784 h 1487076"/>
              <a:gd name="connsiteX1" fmla="*/ 1533156 w 1786225"/>
              <a:gd name="connsiteY1" fmla="*/ 0 h 1487076"/>
              <a:gd name="connsiteX2" fmla="*/ 1786225 w 1786225"/>
              <a:gd name="connsiteY2" fmla="*/ 420731 h 1487076"/>
              <a:gd name="connsiteX3" fmla="*/ 26833 w 1786225"/>
              <a:gd name="connsiteY3" fmla="*/ 1487076 h 1487076"/>
              <a:gd name="connsiteX4" fmla="*/ 0 w 1786225"/>
              <a:gd name="connsiteY4" fmla="*/ 791784 h 1487076"/>
              <a:gd name="connsiteX0" fmla="*/ 191027 w 1759708"/>
              <a:gd name="connsiteY0" fmla="*/ 879672 h 1487076"/>
              <a:gd name="connsiteX1" fmla="*/ 1506639 w 1759708"/>
              <a:gd name="connsiteY1" fmla="*/ 0 h 1487076"/>
              <a:gd name="connsiteX2" fmla="*/ 1759708 w 1759708"/>
              <a:gd name="connsiteY2" fmla="*/ 420731 h 1487076"/>
              <a:gd name="connsiteX3" fmla="*/ 316 w 1759708"/>
              <a:gd name="connsiteY3" fmla="*/ 1487076 h 1487076"/>
              <a:gd name="connsiteX4" fmla="*/ 191027 w 1759708"/>
              <a:gd name="connsiteY4" fmla="*/ 879672 h 1487076"/>
              <a:gd name="connsiteX0" fmla="*/ 0 w 1789247"/>
              <a:gd name="connsiteY0" fmla="*/ 799774 h 1487076"/>
              <a:gd name="connsiteX1" fmla="*/ 1536178 w 1789247"/>
              <a:gd name="connsiteY1" fmla="*/ 0 h 1487076"/>
              <a:gd name="connsiteX2" fmla="*/ 1789247 w 1789247"/>
              <a:gd name="connsiteY2" fmla="*/ 420731 h 1487076"/>
              <a:gd name="connsiteX3" fmla="*/ 29855 w 1789247"/>
              <a:gd name="connsiteY3" fmla="*/ 1487076 h 1487076"/>
              <a:gd name="connsiteX4" fmla="*/ 0 w 1789247"/>
              <a:gd name="connsiteY4" fmla="*/ 799774 h 1487076"/>
              <a:gd name="connsiteX0" fmla="*/ 465 w 1763148"/>
              <a:gd name="connsiteY0" fmla="*/ 790993 h 1487076"/>
              <a:gd name="connsiteX1" fmla="*/ 1510079 w 1763148"/>
              <a:gd name="connsiteY1" fmla="*/ 0 h 1487076"/>
              <a:gd name="connsiteX2" fmla="*/ 1763148 w 1763148"/>
              <a:gd name="connsiteY2" fmla="*/ 420731 h 1487076"/>
              <a:gd name="connsiteX3" fmla="*/ 3756 w 1763148"/>
              <a:gd name="connsiteY3" fmla="*/ 1487076 h 1487076"/>
              <a:gd name="connsiteX4" fmla="*/ 465 w 1763148"/>
              <a:gd name="connsiteY4" fmla="*/ 790993 h 1487076"/>
              <a:gd name="connsiteX0" fmla="*/ 2280 w 1764963"/>
              <a:gd name="connsiteY0" fmla="*/ 790993 h 1487076"/>
              <a:gd name="connsiteX1" fmla="*/ 1511894 w 1764963"/>
              <a:gd name="connsiteY1" fmla="*/ 0 h 1487076"/>
              <a:gd name="connsiteX2" fmla="*/ 1764963 w 1764963"/>
              <a:gd name="connsiteY2" fmla="*/ 420731 h 1487076"/>
              <a:gd name="connsiteX3" fmla="*/ 5571 w 1764963"/>
              <a:gd name="connsiteY3" fmla="*/ 1487076 h 1487076"/>
              <a:gd name="connsiteX4" fmla="*/ 2280 w 1764963"/>
              <a:gd name="connsiteY4" fmla="*/ 790993 h 1487076"/>
              <a:gd name="connsiteX0" fmla="*/ 264 w 1762947"/>
              <a:gd name="connsiteY0" fmla="*/ 790993 h 1487076"/>
              <a:gd name="connsiteX1" fmla="*/ 1509878 w 1762947"/>
              <a:gd name="connsiteY1" fmla="*/ 0 h 1487076"/>
              <a:gd name="connsiteX2" fmla="*/ 1762947 w 1762947"/>
              <a:gd name="connsiteY2" fmla="*/ 420731 h 1487076"/>
              <a:gd name="connsiteX3" fmla="*/ 3555 w 1762947"/>
              <a:gd name="connsiteY3" fmla="*/ 1487076 h 1487076"/>
              <a:gd name="connsiteX4" fmla="*/ 264 w 1762947"/>
              <a:gd name="connsiteY4" fmla="*/ 790993 h 1487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947" h="1487076">
                <a:moveTo>
                  <a:pt x="264" y="790993"/>
                </a:moveTo>
                <a:lnTo>
                  <a:pt x="1509878" y="0"/>
                </a:lnTo>
                <a:lnTo>
                  <a:pt x="1762947" y="420731"/>
                </a:lnTo>
                <a:lnTo>
                  <a:pt x="3555" y="1487076"/>
                </a:lnTo>
                <a:cubicBezTo>
                  <a:pt x="983" y="1127063"/>
                  <a:pt x="-669" y="1020958"/>
                  <a:pt x="264" y="790993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6B31530-F0B3-E9EA-E074-B53CED8A8B27}"/>
              </a:ext>
            </a:extLst>
          </p:cNvPr>
          <p:cNvSpPr/>
          <p:nvPr/>
        </p:nvSpPr>
        <p:spPr>
          <a:xfrm flipH="1">
            <a:off x="554732" y="4588116"/>
            <a:ext cx="2634413" cy="1622507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3175 w 1316947"/>
              <a:gd name="connsiteY0" fmla="*/ 139700 h 692150"/>
              <a:gd name="connsiteX1" fmla="*/ 817351 w 1316947"/>
              <a:gd name="connsiteY1" fmla="*/ 0 h 692150"/>
              <a:gd name="connsiteX2" fmla="*/ 1316947 w 1316947"/>
              <a:gd name="connsiteY2" fmla="*/ 463550 h 692150"/>
              <a:gd name="connsiteX3" fmla="*/ 0 w 1316947"/>
              <a:gd name="connsiteY3" fmla="*/ 692150 h 692150"/>
              <a:gd name="connsiteX4" fmla="*/ 3175 w 1316947"/>
              <a:gd name="connsiteY4" fmla="*/ 139700 h 692150"/>
              <a:gd name="connsiteX0" fmla="*/ 3175 w 840003"/>
              <a:gd name="connsiteY0" fmla="*/ 139700 h 692150"/>
              <a:gd name="connsiteX1" fmla="*/ 817351 w 840003"/>
              <a:gd name="connsiteY1" fmla="*/ 0 h 692150"/>
              <a:gd name="connsiteX2" fmla="*/ 840003 w 840003"/>
              <a:gd name="connsiteY2" fmla="*/ 368300 h 692150"/>
              <a:gd name="connsiteX3" fmla="*/ 0 w 840003"/>
              <a:gd name="connsiteY3" fmla="*/ 692150 h 692150"/>
              <a:gd name="connsiteX4" fmla="*/ 3175 w 840003"/>
              <a:gd name="connsiteY4" fmla="*/ 139700 h 692150"/>
              <a:gd name="connsiteX0" fmla="*/ 3175 w 1123444"/>
              <a:gd name="connsiteY0" fmla="*/ 139700 h 692150"/>
              <a:gd name="connsiteX1" fmla="*/ 817351 w 1123444"/>
              <a:gd name="connsiteY1" fmla="*/ 0 h 692150"/>
              <a:gd name="connsiteX2" fmla="*/ 1123444 w 1123444"/>
              <a:gd name="connsiteY2" fmla="*/ 428625 h 692150"/>
              <a:gd name="connsiteX3" fmla="*/ 0 w 1123444"/>
              <a:gd name="connsiteY3" fmla="*/ 692150 h 692150"/>
              <a:gd name="connsiteX4" fmla="*/ 3175 w 1123444"/>
              <a:gd name="connsiteY4" fmla="*/ 139700 h 692150"/>
              <a:gd name="connsiteX0" fmla="*/ 65 w 1120334"/>
              <a:gd name="connsiteY0" fmla="*/ 139700 h 802569"/>
              <a:gd name="connsiteX1" fmla="*/ 814241 w 1120334"/>
              <a:gd name="connsiteY1" fmla="*/ 0 h 802569"/>
              <a:gd name="connsiteX2" fmla="*/ 1120334 w 1120334"/>
              <a:gd name="connsiteY2" fmla="*/ 428625 h 802569"/>
              <a:gd name="connsiteX3" fmla="*/ 10319 w 1120334"/>
              <a:gd name="connsiteY3" fmla="*/ 802569 h 802569"/>
              <a:gd name="connsiteX4" fmla="*/ 65 w 1120334"/>
              <a:gd name="connsiteY4" fmla="*/ 139700 h 802569"/>
              <a:gd name="connsiteX0" fmla="*/ 87 w 1116998"/>
              <a:gd name="connsiteY0" fmla="*/ 265177 h 802569"/>
              <a:gd name="connsiteX1" fmla="*/ 810905 w 1116998"/>
              <a:gd name="connsiteY1" fmla="*/ 0 h 802569"/>
              <a:gd name="connsiteX2" fmla="*/ 1116998 w 1116998"/>
              <a:gd name="connsiteY2" fmla="*/ 428625 h 802569"/>
              <a:gd name="connsiteX3" fmla="*/ 6983 w 1116998"/>
              <a:gd name="connsiteY3" fmla="*/ 802569 h 802569"/>
              <a:gd name="connsiteX4" fmla="*/ 87 w 1116998"/>
              <a:gd name="connsiteY4" fmla="*/ 265177 h 802569"/>
              <a:gd name="connsiteX0" fmla="*/ 51 w 1123677"/>
              <a:gd name="connsiteY0" fmla="*/ 260158 h 802569"/>
              <a:gd name="connsiteX1" fmla="*/ 817584 w 1123677"/>
              <a:gd name="connsiteY1" fmla="*/ 0 h 802569"/>
              <a:gd name="connsiteX2" fmla="*/ 1123677 w 1123677"/>
              <a:gd name="connsiteY2" fmla="*/ 428625 h 802569"/>
              <a:gd name="connsiteX3" fmla="*/ 13662 w 1123677"/>
              <a:gd name="connsiteY3" fmla="*/ 802569 h 802569"/>
              <a:gd name="connsiteX4" fmla="*/ 51 w 1123677"/>
              <a:gd name="connsiteY4" fmla="*/ 260158 h 802569"/>
              <a:gd name="connsiteX0" fmla="*/ 64 w 1123690"/>
              <a:gd name="connsiteY0" fmla="*/ 260158 h 812607"/>
              <a:gd name="connsiteX1" fmla="*/ 817597 w 1123690"/>
              <a:gd name="connsiteY1" fmla="*/ 0 h 812607"/>
              <a:gd name="connsiteX2" fmla="*/ 1123690 w 1123690"/>
              <a:gd name="connsiteY2" fmla="*/ 428625 h 812607"/>
              <a:gd name="connsiteX3" fmla="*/ 10318 w 1123690"/>
              <a:gd name="connsiteY3" fmla="*/ 812607 h 812607"/>
              <a:gd name="connsiteX4" fmla="*/ 64 w 1123690"/>
              <a:gd name="connsiteY4" fmla="*/ 260158 h 812607"/>
              <a:gd name="connsiteX0" fmla="*/ 64 w 1012898"/>
              <a:gd name="connsiteY0" fmla="*/ 260158 h 812607"/>
              <a:gd name="connsiteX1" fmla="*/ 817597 w 1012898"/>
              <a:gd name="connsiteY1" fmla="*/ 0 h 812607"/>
              <a:gd name="connsiteX2" fmla="*/ 1012898 w 1012898"/>
              <a:gd name="connsiteY2" fmla="*/ 378435 h 812607"/>
              <a:gd name="connsiteX3" fmla="*/ 10318 w 1012898"/>
              <a:gd name="connsiteY3" fmla="*/ 812607 h 812607"/>
              <a:gd name="connsiteX4" fmla="*/ 64 w 1012898"/>
              <a:gd name="connsiteY4" fmla="*/ 260158 h 812607"/>
              <a:gd name="connsiteX0" fmla="*/ 64 w 1036400"/>
              <a:gd name="connsiteY0" fmla="*/ 260158 h 812607"/>
              <a:gd name="connsiteX1" fmla="*/ 817597 w 1036400"/>
              <a:gd name="connsiteY1" fmla="*/ 0 h 812607"/>
              <a:gd name="connsiteX2" fmla="*/ 1036400 w 1036400"/>
              <a:gd name="connsiteY2" fmla="*/ 368397 h 812607"/>
              <a:gd name="connsiteX3" fmla="*/ 10318 w 1036400"/>
              <a:gd name="connsiteY3" fmla="*/ 812607 h 812607"/>
              <a:gd name="connsiteX4" fmla="*/ 64 w 1036400"/>
              <a:gd name="connsiteY4" fmla="*/ 260158 h 812607"/>
              <a:gd name="connsiteX0" fmla="*/ 86 w 1036422"/>
              <a:gd name="connsiteY0" fmla="*/ 260158 h 812607"/>
              <a:gd name="connsiteX1" fmla="*/ 817619 w 1036422"/>
              <a:gd name="connsiteY1" fmla="*/ 0 h 812607"/>
              <a:gd name="connsiteX2" fmla="*/ 1036422 w 1036422"/>
              <a:gd name="connsiteY2" fmla="*/ 368397 h 812607"/>
              <a:gd name="connsiteX3" fmla="*/ 6982 w 1036422"/>
              <a:gd name="connsiteY3" fmla="*/ 812607 h 812607"/>
              <a:gd name="connsiteX4" fmla="*/ 86 w 1036422"/>
              <a:gd name="connsiteY4" fmla="*/ 260158 h 812607"/>
              <a:gd name="connsiteX0" fmla="*/ 20165 w 1056501"/>
              <a:gd name="connsiteY0" fmla="*/ 260158 h 826501"/>
              <a:gd name="connsiteX1" fmla="*/ 837698 w 1056501"/>
              <a:gd name="connsiteY1" fmla="*/ 0 h 826501"/>
              <a:gd name="connsiteX2" fmla="*/ 1056501 w 1056501"/>
              <a:gd name="connsiteY2" fmla="*/ 368397 h 826501"/>
              <a:gd name="connsiteX3" fmla="*/ 0 w 1056501"/>
              <a:gd name="connsiteY3" fmla="*/ 826501 h 826501"/>
              <a:gd name="connsiteX4" fmla="*/ 20165 w 1056501"/>
              <a:gd name="connsiteY4" fmla="*/ 260158 h 826501"/>
              <a:gd name="connsiteX0" fmla="*/ 20165 w 1084260"/>
              <a:gd name="connsiteY0" fmla="*/ 510258 h 1076601"/>
              <a:gd name="connsiteX1" fmla="*/ 1084260 w 1084260"/>
              <a:gd name="connsiteY1" fmla="*/ 0 h 1076601"/>
              <a:gd name="connsiteX2" fmla="*/ 1056501 w 1084260"/>
              <a:gd name="connsiteY2" fmla="*/ 618497 h 1076601"/>
              <a:gd name="connsiteX3" fmla="*/ 0 w 1084260"/>
              <a:gd name="connsiteY3" fmla="*/ 1076601 h 1076601"/>
              <a:gd name="connsiteX4" fmla="*/ 20165 w 1084260"/>
              <a:gd name="connsiteY4" fmla="*/ 510258 h 1076601"/>
              <a:gd name="connsiteX0" fmla="*/ 20165 w 1279008"/>
              <a:gd name="connsiteY0" fmla="*/ 510258 h 1076601"/>
              <a:gd name="connsiteX1" fmla="*/ 1084260 w 1279008"/>
              <a:gd name="connsiteY1" fmla="*/ 0 h 1076601"/>
              <a:gd name="connsiteX2" fmla="*/ 1279008 w 1279008"/>
              <a:gd name="connsiteY2" fmla="*/ 377660 h 1076601"/>
              <a:gd name="connsiteX3" fmla="*/ 0 w 1279008"/>
              <a:gd name="connsiteY3" fmla="*/ 1076601 h 1076601"/>
              <a:gd name="connsiteX4" fmla="*/ 20165 w 1279008"/>
              <a:gd name="connsiteY4" fmla="*/ 510258 h 1076601"/>
              <a:gd name="connsiteX0" fmla="*/ 20165 w 1285021"/>
              <a:gd name="connsiteY0" fmla="*/ 510258 h 1076601"/>
              <a:gd name="connsiteX1" fmla="*/ 1084260 w 1285021"/>
              <a:gd name="connsiteY1" fmla="*/ 0 h 1076601"/>
              <a:gd name="connsiteX2" fmla="*/ 1285021 w 1285021"/>
              <a:gd name="connsiteY2" fmla="*/ 368396 h 1076601"/>
              <a:gd name="connsiteX3" fmla="*/ 0 w 1285021"/>
              <a:gd name="connsiteY3" fmla="*/ 1076601 h 1076601"/>
              <a:gd name="connsiteX4" fmla="*/ 20165 w 1285021"/>
              <a:gd name="connsiteY4" fmla="*/ 510258 h 1076601"/>
              <a:gd name="connsiteX0" fmla="*/ 13 w 1264869"/>
              <a:gd name="connsiteY0" fmla="*/ 510258 h 1095127"/>
              <a:gd name="connsiteX1" fmla="*/ 1064108 w 1264869"/>
              <a:gd name="connsiteY1" fmla="*/ 0 h 1095127"/>
              <a:gd name="connsiteX2" fmla="*/ 1264869 w 1264869"/>
              <a:gd name="connsiteY2" fmla="*/ 368396 h 1095127"/>
              <a:gd name="connsiteX3" fmla="*/ 64040 w 1264869"/>
              <a:gd name="connsiteY3" fmla="*/ 1095127 h 1095127"/>
              <a:gd name="connsiteX4" fmla="*/ 13 w 1264869"/>
              <a:gd name="connsiteY4" fmla="*/ 510258 h 1095127"/>
              <a:gd name="connsiteX0" fmla="*/ 2124 w 1266980"/>
              <a:gd name="connsiteY0" fmla="*/ 510258 h 1071969"/>
              <a:gd name="connsiteX1" fmla="*/ 1066219 w 1266980"/>
              <a:gd name="connsiteY1" fmla="*/ 0 h 1071969"/>
              <a:gd name="connsiteX2" fmla="*/ 1266980 w 1266980"/>
              <a:gd name="connsiteY2" fmla="*/ 368396 h 1071969"/>
              <a:gd name="connsiteX3" fmla="*/ 0 w 1266980"/>
              <a:gd name="connsiteY3" fmla="*/ 1071969 h 1071969"/>
              <a:gd name="connsiteX4" fmla="*/ 2124 w 1266980"/>
              <a:gd name="connsiteY4" fmla="*/ 510258 h 1071969"/>
              <a:gd name="connsiteX0" fmla="*/ 2124 w 1299641"/>
              <a:gd name="connsiteY0" fmla="*/ 813874 h 1375585"/>
              <a:gd name="connsiteX1" fmla="*/ 1299641 w 1299641"/>
              <a:gd name="connsiteY1" fmla="*/ 0 h 1375585"/>
              <a:gd name="connsiteX2" fmla="*/ 1266980 w 1299641"/>
              <a:gd name="connsiteY2" fmla="*/ 672012 h 1375585"/>
              <a:gd name="connsiteX3" fmla="*/ 0 w 1299641"/>
              <a:gd name="connsiteY3" fmla="*/ 1375585 h 1375585"/>
              <a:gd name="connsiteX4" fmla="*/ 2124 w 1299641"/>
              <a:gd name="connsiteY4" fmla="*/ 813874 h 1375585"/>
              <a:gd name="connsiteX0" fmla="*/ 2124 w 1544494"/>
              <a:gd name="connsiteY0" fmla="*/ 813874 h 1375585"/>
              <a:gd name="connsiteX1" fmla="*/ 1299641 w 1544494"/>
              <a:gd name="connsiteY1" fmla="*/ 0 h 1375585"/>
              <a:gd name="connsiteX2" fmla="*/ 1544494 w 1544494"/>
              <a:gd name="connsiteY2" fmla="*/ 428321 h 1375585"/>
              <a:gd name="connsiteX3" fmla="*/ 0 w 1544494"/>
              <a:gd name="connsiteY3" fmla="*/ 1375585 h 1375585"/>
              <a:gd name="connsiteX4" fmla="*/ 2124 w 1544494"/>
              <a:gd name="connsiteY4" fmla="*/ 813874 h 1375585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33247 w 1575617"/>
              <a:gd name="connsiteY0" fmla="*/ 8138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33247 w 1575617"/>
              <a:gd name="connsiteY4" fmla="*/ 813874 h 1491438"/>
              <a:gd name="connsiteX0" fmla="*/ 25466 w 1575617"/>
              <a:gd name="connsiteY0" fmla="*/ 82186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25466 w 1575617"/>
              <a:gd name="connsiteY4" fmla="*/ 821864 h 1491438"/>
              <a:gd name="connsiteX0" fmla="*/ 8364 w 1575617"/>
              <a:gd name="connsiteY0" fmla="*/ 817474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8364 w 1575617"/>
              <a:gd name="connsiteY4" fmla="*/ 817474 h 1491438"/>
              <a:gd name="connsiteX0" fmla="*/ 69388 w 1575617"/>
              <a:gd name="connsiteY0" fmla="*/ 826570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69388 w 1575617"/>
              <a:gd name="connsiteY4" fmla="*/ 826570 h 1491438"/>
              <a:gd name="connsiteX0" fmla="*/ 8364 w 1575617"/>
              <a:gd name="connsiteY0" fmla="*/ 808377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8364 w 1575617"/>
              <a:gd name="connsiteY4" fmla="*/ 808377 h 1491438"/>
              <a:gd name="connsiteX0" fmla="*/ 8364 w 1575617"/>
              <a:gd name="connsiteY0" fmla="*/ 808377 h 1491438"/>
              <a:gd name="connsiteX1" fmla="*/ 1330764 w 1575617"/>
              <a:gd name="connsiteY1" fmla="*/ 0 h 1491438"/>
              <a:gd name="connsiteX2" fmla="*/ 1575617 w 1575617"/>
              <a:gd name="connsiteY2" fmla="*/ 428321 h 1491438"/>
              <a:gd name="connsiteX3" fmla="*/ 0 w 1575617"/>
              <a:gd name="connsiteY3" fmla="*/ 1491438 h 1491438"/>
              <a:gd name="connsiteX4" fmla="*/ 8364 w 1575617"/>
              <a:gd name="connsiteY4" fmla="*/ 808377 h 1491438"/>
              <a:gd name="connsiteX0" fmla="*/ 12301 w 1579554"/>
              <a:gd name="connsiteY0" fmla="*/ 808377 h 1494470"/>
              <a:gd name="connsiteX1" fmla="*/ 1334701 w 1579554"/>
              <a:gd name="connsiteY1" fmla="*/ 0 h 1494470"/>
              <a:gd name="connsiteX2" fmla="*/ 1579554 w 1579554"/>
              <a:gd name="connsiteY2" fmla="*/ 428321 h 1494470"/>
              <a:gd name="connsiteX3" fmla="*/ 0 w 1579554"/>
              <a:gd name="connsiteY3" fmla="*/ 1494470 h 1494470"/>
              <a:gd name="connsiteX4" fmla="*/ 12301 w 1579554"/>
              <a:gd name="connsiteY4" fmla="*/ 808377 h 1494470"/>
              <a:gd name="connsiteX0" fmla="*/ 12301 w 1579554"/>
              <a:gd name="connsiteY0" fmla="*/ 808377 h 1494470"/>
              <a:gd name="connsiteX1" fmla="*/ 1334701 w 1579554"/>
              <a:gd name="connsiteY1" fmla="*/ 0 h 1494470"/>
              <a:gd name="connsiteX2" fmla="*/ 1579554 w 1579554"/>
              <a:gd name="connsiteY2" fmla="*/ 428321 h 1494470"/>
              <a:gd name="connsiteX3" fmla="*/ 0 w 1579554"/>
              <a:gd name="connsiteY3" fmla="*/ 1494470 h 1494470"/>
              <a:gd name="connsiteX4" fmla="*/ 12301 w 1579554"/>
              <a:gd name="connsiteY4" fmla="*/ 808377 h 1494470"/>
              <a:gd name="connsiteX0" fmla="*/ 12301 w 1579554"/>
              <a:gd name="connsiteY0" fmla="*/ 808377 h 1494470"/>
              <a:gd name="connsiteX1" fmla="*/ 1334701 w 1579554"/>
              <a:gd name="connsiteY1" fmla="*/ 0 h 1494470"/>
              <a:gd name="connsiteX2" fmla="*/ 1579554 w 1579554"/>
              <a:gd name="connsiteY2" fmla="*/ 428321 h 1494470"/>
              <a:gd name="connsiteX3" fmla="*/ 0 w 1579554"/>
              <a:gd name="connsiteY3" fmla="*/ 1494470 h 1494470"/>
              <a:gd name="connsiteX4" fmla="*/ 12301 w 1579554"/>
              <a:gd name="connsiteY4" fmla="*/ 808377 h 1494470"/>
              <a:gd name="connsiteX0" fmla="*/ 12301 w 1579554"/>
              <a:gd name="connsiteY0" fmla="*/ 808377 h 1494470"/>
              <a:gd name="connsiteX1" fmla="*/ 1334701 w 1579554"/>
              <a:gd name="connsiteY1" fmla="*/ 0 h 1494470"/>
              <a:gd name="connsiteX2" fmla="*/ 1579554 w 1579554"/>
              <a:gd name="connsiteY2" fmla="*/ 428321 h 1494470"/>
              <a:gd name="connsiteX3" fmla="*/ 0 w 1579554"/>
              <a:gd name="connsiteY3" fmla="*/ 1494470 h 1494470"/>
              <a:gd name="connsiteX4" fmla="*/ 12301 w 1579554"/>
              <a:gd name="connsiteY4" fmla="*/ 808377 h 1494470"/>
              <a:gd name="connsiteX0" fmla="*/ 12301 w 1579554"/>
              <a:gd name="connsiteY0" fmla="*/ 808377 h 1494470"/>
              <a:gd name="connsiteX1" fmla="*/ 1334701 w 1579554"/>
              <a:gd name="connsiteY1" fmla="*/ 0 h 1494470"/>
              <a:gd name="connsiteX2" fmla="*/ 1579554 w 1579554"/>
              <a:gd name="connsiteY2" fmla="*/ 428321 h 1494470"/>
              <a:gd name="connsiteX3" fmla="*/ 0 w 1579554"/>
              <a:gd name="connsiteY3" fmla="*/ 1494470 h 1494470"/>
              <a:gd name="connsiteX4" fmla="*/ 12301 w 1579554"/>
              <a:gd name="connsiteY4" fmla="*/ 808377 h 1494470"/>
              <a:gd name="connsiteX0" fmla="*/ 1373 w 1568626"/>
              <a:gd name="connsiteY0" fmla="*/ 808377 h 1503566"/>
              <a:gd name="connsiteX1" fmla="*/ 1323773 w 1568626"/>
              <a:gd name="connsiteY1" fmla="*/ 0 h 1503566"/>
              <a:gd name="connsiteX2" fmla="*/ 1568626 w 1568626"/>
              <a:gd name="connsiteY2" fmla="*/ 428321 h 1503566"/>
              <a:gd name="connsiteX3" fmla="*/ 18600 w 1568626"/>
              <a:gd name="connsiteY3" fmla="*/ 1503566 h 1503566"/>
              <a:gd name="connsiteX4" fmla="*/ 1373 w 1568626"/>
              <a:gd name="connsiteY4" fmla="*/ 808377 h 1503566"/>
              <a:gd name="connsiteX0" fmla="*/ 4426 w 1571679"/>
              <a:gd name="connsiteY0" fmla="*/ 808377 h 1503566"/>
              <a:gd name="connsiteX1" fmla="*/ 1326826 w 1571679"/>
              <a:gd name="connsiteY1" fmla="*/ 0 h 1503566"/>
              <a:gd name="connsiteX2" fmla="*/ 1571679 w 1571679"/>
              <a:gd name="connsiteY2" fmla="*/ 428321 h 1503566"/>
              <a:gd name="connsiteX3" fmla="*/ 0 w 1571679"/>
              <a:gd name="connsiteY3" fmla="*/ 1503566 h 1503566"/>
              <a:gd name="connsiteX4" fmla="*/ 4426 w 1571679"/>
              <a:gd name="connsiteY4" fmla="*/ 808377 h 1503566"/>
              <a:gd name="connsiteX0" fmla="*/ 2176 w 1577918"/>
              <a:gd name="connsiteY0" fmla="*/ 808377 h 1503566"/>
              <a:gd name="connsiteX1" fmla="*/ 1333065 w 1577918"/>
              <a:gd name="connsiteY1" fmla="*/ 0 h 1503566"/>
              <a:gd name="connsiteX2" fmla="*/ 1577918 w 1577918"/>
              <a:gd name="connsiteY2" fmla="*/ 428321 h 1503566"/>
              <a:gd name="connsiteX3" fmla="*/ 6239 w 1577918"/>
              <a:gd name="connsiteY3" fmla="*/ 1503566 h 1503566"/>
              <a:gd name="connsiteX4" fmla="*/ 2176 w 1577918"/>
              <a:gd name="connsiteY4" fmla="*/ 808377 h 1503566"/>
              <a:gd name="connsiteX0" fmla="*/ 2176 w 1577918"/>
              <a:gd name="connsiteY0" fmla="*/ 808377 h 1494848"/>
              <a:gd name="connsiteX1" fmla="*/ 1333065 w 1577918"/>
              <a:gd name="connsiteY1" fmla="*/ 0 h 1494848"/>
              <a:gd name="connsiteX2" fmla="*/ 1577918 w 1577918"/>
              <a:gd name="connsiteY2" fmla="*/ 428321 h 1494848"/>
              <a:gd name="connsiteX3" fmla="*/ 6239 w 1577918"/>
              <a:gd name="connsiteY3" fmla="*/ 1494848 h 1494848"/>
              <a:gd name="connsiteX4" fmla="*/ 2176 w 1577918"/>
              <a:gd name="connsiteY4" fmla="*/ 808377 h 1494848"/>
              <a:gd name="connsiteX0" fmla="*/ 2176 w 1577918"/>
              <a:gd name="connsiteY0" fmla="*/ 808377 h 1494848"/>
              <a:gd name="connsiteX1" fmla="*/ 1333065 w 1577918"/>
              <a:gd name="connsiteY1" fmla="*/ 0 h 1494848"/>
              <a:gd name="connsiteX2" fmla="*/ 1577918 w 1577918"/>
              <a:gd name="connsiteY2" fmla="*/ 428321 h 1494848"/>
              <a:gd name="connsiteX3" fmla="*/ 6239 w 1577918"/>
              <a:gd name="connsiteY3" fmla="*/ 1494848 h 1494848"/>
              <a:gd name="connsiteX4" fmla="*/ 2176 w 1577918"/>
              <a:gd name="connsiteY4" fmla="*/ 808377 h 1494848"/>
              <a:gd name="connsiteX0" fmla="*/ 6418 w 1582160"/>
              <a:gd name="connsiteY0" fmla="*/ 808377 h 1494848"/>
              <a:gd name="connsiteX1" fmla="*/ 1337307 w 1582160"/>
              <a:gd name="connsiteY1" fmla="*/ 0 h 1494848"/>
              <a:gd name="connsiteX2" fmla="*/ 1582160 w 1582160"/>
              <a:gd name="connsiteY2" fmla="*/ 428321 h 1494848"/>
              <a:gd name="connsiteX3" fmla="*/ 10481 w 1582160"/>
              <a:gd name="connsiteY3" fmla="*/ 1494848 h 1494848"/>
              <a:gd name="connsiteX4" fmla="*/ 6418 w 1582160"/>
              <a:gd name="connsiteY4" fmla="*/ 808377 h 1494848"/>
              <a:gd name="connsiteX0" fmla="*/ 3866 w 1579608"/>
              <a:gd name="connsiteY0" fmla="*/ 808377 h 1494848"/>
              <a:gd name="connsiteX1" fmla="*/ 1334755 w 1579608"/>
              <a:gd name="connsiteY1" fmla="*/ 0 h 1494848"/>
              <a:gd name="connsiteX2" fmla="*/ 1579608 w 1579608"/>
              <a:gd name="connsiteY2" fmla="*/ 428321 h 1494848"/>
              <a:gd name="connsiteX3" fmla="*/ 7929 w 1579608"/>
              <a:gd name="connsiteY3" fmla="*/ 1494848 h 1494848"/>
              <a:gd name="connsiteX4" fmla="*/ 3866 w 1579608"/>
              <a:gd name="connsiteY4" fmla="*/ 808377 h 1494848"/>
              <a:gd name="connsiteX0" fmla="*/ 0 w 1575742"/>
              <a:gd name="connsiteY0" fmla="*/ 808377 h 1494848"/>
              <a:gd name="connsiteX1" fmla="*/ 1330889 w 1575742"/>
              <a:gd name="connsiteY1" fmla="*/ 0 h 1494848"/>
              <a:gd name="connsiteX2" fmla="*/ 1575742 w 1575742"/>
              <a:gd name="connsiteY2" fmla="*/ 428321 h 1494848"/>
              <a:gd name="connsiteX3" fmla="*/ 4063 w 1575742"/>
              <a:gd name="connsiteY3" fmla="*/ 1494848 h 1494848"/>
              <a:gd name="connsiteX4" fmla="*/ 0 w 1575742"/>
              <a:gd name="connsiteY4" fmla="*/ 808377 h 1494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5742" h="1494848">
                <a:moveTo>
                  <a:pt x="0" y="808377"/>
                </a:moveTo>
                <a:lnTo>
                  <a:pt x="1330889" y="0"/>
                </a:lnTo>
                <a:lnTo>
                  <a:pt x="1575742" y="428321"/>
                </a:lnTo>
                <a:lnTo>
                  <a:pt x="4063" y="1494848"/>
                </a:lnTo>
                <a:cubicBezTo>
                  <a:pt x="-1822" y="1133670"/>
                  <a:pt x="3200" y="1166618"/>
                  <a:pt x="0" y="808377"/>
                </a:cubicBezTo>
                <a:close/>
              </a:path>
            </a:pathLst>
          </a:custGeom>
          <a:solidFill>
            <a:srgbClr val="4397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AC85E42-D899-0F8E-B8DB-19564D48441B}"/>
              </a:ext>
            </a:extLst>
          </p:cNvPr>
          <p:cNvSpPr/>
          <p:nvPr/>
        </p:nvSpPr>
        <p:spPr>
          <a:xfrm>
            <a:off x="3162857" y="4116172"/>
            <a:ext cx="2101410" cy="1165482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7086 w 1316947"/>
              <a:gd name="connsiteY0" fmla="*/ 224719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7086 w 1316947"/>
              <a:gd name="connsiteY4" fmla="*/ 224719 h 666750"/>
              <a:gd name="connsiteX0" fmla="*/ 3175 w 1313036"/>
              <a:gd name="connsiteY0" fmla="*/ 224719 h 777169"/>
              <a:gd name="connsiteX1" fmla="*/ 960611 w 1313036"/>
              <a:gd name="connsiteY1" fmla="*/ 0 h 777169"/>
              <a:gd name="connsiteX2" fmla="*/ 1313036 w 1313036"/>
              <a:gd name="connsiteY2" fmla="*/ 438150 h 777169"/>
              <a:gd name="connsiteX3" fmla="*/ 0 w 1313036"/>
              <a:gd name="connsiteY3" fmla="*/ 777169 h 777169"/>
              <a:gd name="connsiteX4" fmla="*/ 3175 w 1313036"/>
              <a:gd name="connsiteY4" fmla="*/ 224719 h 777169"/>
              <a:gd name="connsiteX0" fmla="*/ 3175 w 1219167"/>
              <a:gd name="connsiteY0" fmla="*/ 224719 h 777169"/>
              <a:gd name="connsiteX1" fmla="*/ 960611 w 1219167"/>
              <a:gd name="connsiteY1" fmla="*/ 0 h 777169"/>
              <a:gd name="connsiteX2" fmla="*/ 1219167 w 1219167"/>
              <a:gd name="connsiteY2" fmla="*/ 418074 h 777169"/>
              <a:gd name="connsiteX3" fmla="*/ 0 w 1219167"/>
              <a:gd name="connsiteY3" fmla="*/ 777169 h 777169"/>
              <a:gd name="connsiteX4" fmla="*/ 3175 w 1219167"/>
              <a:gd name="connsiteY4" fmla="*/ 224719 h 777169"/>
              <a:gd name="connsiteX0" fmla="*/ 3175 w 1168321"/>
              <a:gd name="connsiteY0" fmla="*/ 224719 h 777169"/>
              <a:gd name="connsiteX1" fmla="*/ 960611 w 1168321"/>
              <a:gd name="connsiteY1" fmla="*/ 0 h 777169"/>
              <a:gd name="connsiteX2" fmla="*/ 1168321 w 1168321"/>
              <a:gd name="connsiteY2" fmla="*/ 337769 h 777169"/>
              <a:gd name="connsiteX3" fmla="*/ 0 w 1168321"/>
              <a:gd name="connsiteY3" fmla="*/ 777169 h 777169"/>
              <a:gd name="connsiteX4" fmla="*/ 3175 w 1168321"/>
              <a:gd name="connsiteY4" fmla="*/ 224719 h 777169"/>
              <a:gd name="connsiteX0" fmla="*/ 3175 w 1203522"/>
              <a:gd name="connsiteY0" fmla="*/ 224719 h 777169"/>
              <a:gd name="connsiteX1" fmla="*/ 960611 w 1203522"/>
              <a:gd name="connsiteY1" fmla="*/ 0 h 777169"/>
              <a:gd name="connsiteX2" fmla="*/ 1203522 w 1203522"/>
              <a:gd name="connsiteY2" fmla="*/ 387960 h 777169"/>
              <a:gd name="connsiteX3" fmla="*/ 0 w 1203522"/>
              <a:gd name="connsiteY3" fmla="*/ 777169 h 777169"/>
              <a:gd name="connsiteX4" fmla="*/ 3175 w 1203522"/>
              <a:gd name="connsiteY4" fmla="*/ 224719 h 777169"/>
              <a:gd name="connsiteX0" fmla="*/ 9 w 1200356"/>
              <a:gd name="connsiteY0" fmla="*/ 224719 h 636636"/>
              <a:gd name="connsiteX1" fmla="*/ 957445 w 1200356"/>
              <a:gd name="connsiteY1" fmla="*/ 0 h 636636"/>
              <a:gd name="connsiteX2" fmla="*/ 1200356 w 1200356"/>
              <a:gd name="connsiteY2" fmla="*/ 387960 h 636636"/>
              <a:gd name="connsiteX3" fmla="*/ 90703 w 1200356"/>
              <a:gd name="connsiteY3" fmla="*/ 636636 h 636636"/>
              <a:gd name="connsiteX4" fmla="*/ 9 w 1200356"/>
              <a:gd name="connsiteY4" fmla="*/ 224719 h 636636"/>
              <a:gd name="connsiteX0" fmla="*/ 239 w 1200586"/>
              <a:gd name="connsiteY0" fmla="*/ 224719 h 762112"/>
              <a:gd name="connsiteX1" fmla="*/ 957675 w 1200586"/>
              <a:gd name="connsiteY1" fmla="*/ 0 h 762112"/>
              <a:gd name="connsiteX2" fmla="*/ 1200586 w 1200586"/>
              <a:gd name="connsiteY2" fmla="*/ 387960 h 762112"/>
              <a:gd name="connsiteX3" fmla="*/ 975 w 1200586"/>
              <a:gd name="connsiteY3" fmla="*/ 762112 h 762112"/>
              <a:gd name="connsiteX4" fmla="*/ 239 w 1200586"/>
              <a:gd name="connsiteY4" fmla="*/ 224719 h 762112"/>
              <a:gd name="connsiteX0" fmla="*/ 30790 w 1199611"/>
              <a:gd name="connsiteY0" fmla="*/ 305630 h 762112"/>
              <a:gd name="connsiteX1" fmla="*/ 956700 w 1199611"/>
              <a:gd name="connsiteY1" fmla="*/ 0 h 762112"/>
              <a:gd name="connsiteX2" fmla="*/ 1199611 w 1199611"/>
              <a:gd name="connsiteY2" fmla="*/ 387960 h 762112"/>
              <a:gd name="connsiteX3" fmla="*/ 0 w 1199611"/>
              <a:gd name="connsiteY3" fmla="*/ 762112 h 762112"/>
              <a:gd name="connsiteX4" fmla="*/ 30790 w 1199611"/>
              <a:gd name="connsiteY4" fmla="*/ 305630 h 762112"/>
              <a:gd name="connsiteX0" fmla="*/ 79 w 1207432"/>
              <a:gd name="connsiteY0" fmla="*/ 242700 h 762112"/>
              <a:gd name="connsiteX1" fmla="*/ 964521 w 1207432"/>
              <a:gd name="connsiteY1" fmla="*/ 0 h 762112"/>
              <a:gd name="connsiteX2" fmla="*/ 1207432 w 1207432"/>
              <a:gd name="connsiteY2" fmla="*/ 387960 h 762112"/>
              <a:gd name="connsiteX3" fmla="*/ 7821 w 1207432"/>
              <a:gd name="connsiteY3" fmla="*/ 762112 h 762112"/>
              <a:gd name="connsiteX4" fmla="*/ 79 w 1207432"/>
              <a:gd name="connsiteY4" fmla="*/ 242700 h 762112"/>
              <a:gd name="connsiteX0" fmla="*/ 119 w 1207472"/>
              <a:gd name="connsiteY0" fmla="*/ 242700 h 789082"/>
              <a:gd name="connsiteX1" fmla="*/ 964561 w 1207472"/>
              <a:gd name="connsiteY1" fmla="*/ 0 h 789082"/>
              <a:gd name="connsiteX2" fmla="*/ 1207472 w 1207472"/>
              <a:gd name="connsiteY2" fmla="*/ 387960 h 789082"/>
              <a:gd name="connsiteX3" fmla="*/ 4358 w 1207472"/>
              <a:gd name="connsiteY3" fmla="*/ 789082 h 789082"/>
              <a:gd name="connsiteX4" fmla="*/ 119 w 1207472"/>
              <a:gd name="connsiteY4" fmla="*/ 242700 h 789082"/>
              <a:gd name="connsiteX0" fmla="*/ 119 w 1272816"/>
              <a:gd name="connsiteY0" fmla="*/ 502064 h 1048446"/>
              <a:gd name="connsiteX1" fmla="*/ 1272816 w 1272816"/>
              <a:gd name="connsiteY1" fmla="*/ 0 h 1048446"/>
              <a:gd name="connsiteX2" fmla="*/ 1207472 w 1272816"/>
              <a:gd name="connsiteY2" fmla="*/ 647324 h 1048446"/>
              <a:gd name="connsiteX3" fmla="*/ 4358 w 1272816"/>
              <a:gd name="connsiteY3" fmla="*/ 1048446 h 1048446"/>
              <a:gd name="connsiteX4" fmla="*/ 119 w 1272816"/>
              <a:gd name="connsiteY4" fmla="*/ 502064 h 1048446"/>
              <a:gd name="connsiteX0" fmla="*/ 119 w 1501714"/>
              <a:gd name="connsiteY0" fmla="*/ 502064 h 1048446"/>
              <a:gd name="connsiteX1" fmla="*/ 1272816 w 1501714"/>
              <a:gd name="connsiteY1" fmla="*/ 0 h 1048446"/>
              <a:gd name="connsiteX2" fmla="*/ 1501714 w 1501714"/>
              <a:gd name="connsiteY2" fmla="*/ 364803 h 1048446"/>
              <a:gd name="connsiteX3" fmla="*/ 4358 w 1501714"/>
              <a:gd name="connsiteY3" fmla="*/ 1048446 h 1048446"/>
              <a:gd name="connsiteX4" fmla="*/ 119 w 1501714"/>
              <a:gd name="connsiteY4" fmla="*/ 502064 h 1048446"/>
              <a:gd name="connsiteX0" fmla="*/ 24 w 1501619"/>
              <a:gd name="connsiteY0" fmla="*/ 502064 h 1071604"/>
              <a:gd name="connsiteX1" fmla="*/ 1272721 w 1501619"/>
              <a:gd name="connsiteY1" fmla="*/ 0 h 1071604"/>
              <a:gd name="connsiteX2" fmla="*/ 1501619 w 1501619"/>
              <a:gd name="connsiteY2" fmla="*/ 364803 h 1071604"/>
              <a:gd name="connsiteX3" fmla="*/ 32286 w 1501619"/>
              <a:gd name="connsiteY3" fmla="*/ 1071604 h 1071604"/>
              <a:gd name="connsiteX4" fmla="*/ 24 w 1501619"/>
              <a:gd name="connsiteY4" fmla="*/ 502064 h 1071604"/>
              <a:gd name="connsiteX0" fmla="*/ 48 w 1484129"/>
              <a:gd name="connsiteY0" fmla="*/ 488169 h 1071604"/>
              <a:gd name="connsiteX1" fmla="*/ 1255231 w 1484129"/>
              <a:gd name="connsiteY1" fmla="*/ 0 h 1071604"/>
              <a:gd name="connsiteX2" fmla="*/ 1484129 w 1484129"/>
              <a:gd name="connsiteY2" fmla="*/ 364803 h 1071604"/>
              <a:gd name="connsiteX3" fmla="*/ 14796 w 1484129"/>
              <a:gd name="connsiteY3" fmla="*/ 1071604 h 1071604"/>
              <a:gd name="connsiteX4" fmla="*/ 48 w 1484129"/>
              <a:gd name="connsiteY4" fmla="*/ 488169 h 1071604"/>
              <a:gd name="connsiteX0" fmla="*/ 0 w 1484081"/>
              <a:gd name="connsiteY0" fmla="*/ 488169 h 1071604"/>
              <a:gd name="connsiteX1" fmla="*/ 1255183 w 1484081"/>
              <a:gd name="connsiteY1" fmla="*/ 0 h 1071604"/>
              <a:gd name="connsiteX2" fmla="*/ 1484081 w 1484081"/>
              <a:gd name="connsiteY2" fmla="*/ 364803 h 1071604"/>
              <a:gd name="connsiteX3" fmla="*/ 14748 w 1484081"/>
              <a:gd name="connsiteY3" fmla="*/ 1071604 h 1071604"/>
              <a:gd name="connsiteX4" fmla="*/ 0 w 1484081"/>
              <a:gd name="connsiteY4" fmla="*/ 488169 h 1071604"/>
              <a:gd name="connsiteX0" fmla="*/ 0 w 1484081"/>
              <a:gd name="connsiteY0" fmla="*/ 488169 h 1071604"/>
              <a:gd name="connsiteX1" fmla="*/ 1255183 w 1484081"/>
              <a:gd name="connsiteY1" fmla="*/ 0 h 1071604"/>
              <a:gd name="connsiteX2" fmla="*/ 1484081 w 1484081"/>
              <a:gd name="connsiteY2" fmla="*/ 364803 h 1071604"/>
              <a:gd name="connsiteX3" fmla="*/ 14748 w 1484081"/>
              <a:gd name="connsiteY3" fmla="*/ 1071604 h 1071604"/>
              <a:gd name="connsiteX4" fmla="*/ 0 w 1484081"/>
              <a:gd name="connsiteY4" fmla="*/ 488169 h 1071604"/>
              <a:gd name="connsiteX0" fmla="*/ 3456 w 1487537"/>
              <a:gd name="connsiteY0" fmla="*/ 488169 h 1087584"/>
              <a:gd name="connsiteX1" fmla="*/ 1258639 w 1487537"/>
              <a:gd name="connsiteY1" fmla="*/ 0 h 1087584"/>
              <a:gd name="connsiteX2" fmla="*/ 1487537 w 1487537"/>
              <a:gd name="connsiteY2" fmla="*/ 364803 h 1087584"/>
              <a:gd name="connsiteX3" fmla="*/ 3097 w 1487537"/>
              <a:gd name="connsiteY3" fmla="*/ 1087584 h 1087584"/>
              <a:gd name="connsiteX4" fmla="*/ 3456 w 1487537"/>
              <a:gd name="connsiteY4" fmla="*/ 488169 h 1087584"/>
              <a:gd name="connsiteX0" fmla="*/ 359 w 1484440"/>
              <a:gd name="connsiteY0" fmla="*/ 488169 h 1087584"/>
              <a:gd name="connsiteX1" fmla="*/ 1255542 w 1484440"/>
              <a:gd name="connsiteY1" fmla="*/ 0 h 1087584"/>
              <a:gd name="connsiteX2" fmla="*/ 1484440 w 1484440"/>
              <a:gd name="connsiteY2" fmla="*/ 364803 h 1087584"/>
              <a:gd name="connsiteX3" fmla="*/ 0 w 1484440"/>
              <a:gd name="connsiteY3" fmla="*/ 1087584 h 1087584"/>
              <a:gd name="connsiteX4" fmla="*/ 359 w 1484440"/>
              <a:gd name="connsiteY4" fmla="*/ 488169 h 1087584"/>
              <a:gd name="connsiteX0" fmla="*/ 0 w 1493145"/>
              <a:gd name="connsiteY0" fmla="*/ 500154 h 1087584"/>
              <a:gd name="connsiteX1" fmla="*/ 1264247 w 1493145"/>
              <a:gd name="connsiteY1" fmla="*/ 0 h 1087584"/>
              <a:gd name="connsiteX2" fmla="*/ 1493145 w 1493145"/>
              <a:gd name="connsiteY2" fmla="*/ 364803 h 1087584"/>
              <a:gd name="connsiteX3" fmla="*/ 8705 w 1493145"/>
              <a:gd name="connsiteY3" fmla="*/ 1087584 h 1087584"/>
              <a:gd name="connsiteX4" fmla="*/ 0 w 1493145"/>
              <a:gd name="connsiteY4" fmla="*/ 500154 h 1087584"/>
              <a:gd name="connsiteX0" fmla="*/ 0 w 1493145"/>
              <a:gd name="connsiteY0" fmla="*/ 500154 h 1091975"/>
              <a:gd name="connsiteX1" fmla="*/ 1264247 w 1493145"/>
              <a:gd name="connsiteY1" fmla="*/ 0 h 1091975"/>
              <a:gd name="connsiteX2" fmla="*/ 1493145 w 1493145"/>
              <a:gd name="connsiteY2" fmla="*/ 364803 h 1091975"/>
              <a:gd name="connsiteX3" fmla="*/ 31948 w 1493145"/>
              <a:gd name="connsiteY3" fmla="*/ 1091975 h 1091975"/>
              <a:gd name="connsiteX4" fmla="*/ 0 w 1493145"/>
              <a:gd name="connsiteY4" fmla="*/ 500154 h 1091975"/>
              <a:gd name="connsiteX0" fmla="*/ 0 w 1466581"/>
              <a:gd name="connsiteY0" fmla="*/ 491373 h 1091975"/>
              <a:gd name="connsiteX1" fmla="*/ 1237683 w 1466581"/>
              <a:gd name="connsiteY1" fmla="*/ 0 h 1091975"/>
              <a:gd name="connsiteX2" fmla="*/ 1466581 w 1466581"/>
              <a:gd name="connsiteY2" fmla="*/ 364803 h 1091975"/>
              <a:gd name="connsiteX3" fmla="*/ 5384 w 1466581"/>
              <a:gd name="connsiteY3" fmla="*/ 1091975 h 1091975"/>
              <a:gd name="connsiteX4" fmla="*/ 0 w 1466581"/>
              <a:gd name="connsiteY4" fmla="*/ 491373 h 1091975"/>
              <a:gd name="connsiteX0" fmla="*/ 24428 w 1461197"/>
              <a:gd name="connsiteY0" fmla="*/ 494405 h 1091975"/>
              <a:gd name="connsiteX1" fmla="*/ 1232299 w 1461197"/>
              <a:gd name="connsiteY1" fmla="*/ 0 h 1091975"/>
              <a:gd name="connsiteX2" fmla="*/ 1461197 w 1461197"/>
              <a:gd name="connsiteY2" fmla="*/ 364803 h 1091975"/>
              <a:gd name="connsiteX3" fmla="*/ 0 w 1461197"/>
              <a:gd name="connsiteY3" fmla="*/ 1091975 h 1091975"/>
              <a:gd name="connsiteX4" fmla="*/ 24428 w 1461197"/>
              <a:gd name="connsiteY4" fmla="*/ 494405 h 1091975"/>
              <a:gd name="connsiteX0" fmla="*/ 1495 w 1461197"/>
              <a:gd name="connsiteY0" fmla="*/ 494405 h 1091975"/>
              <a:gd name="connsiteX1" fmla="*/ 1232299 w 1461197"/>
              <a:gd name="connsiteY1" fmla="*/ 0 h 1091975"/>
              <a:gd name="connsiteX2" fmla="*/ 1461197 w 1461197"/>
              <a:gd name="connsiteY2" fmla="*/ 364803 h 1091975"/>
              <a:gd name="connsiteX3" fmla="*/ 0 w 1461197"/>
              <a:gd name="connsiteY3" fmla="*/ 1091975 h 1091975"/>
              <a:gd name="connsiteX4" fmla="*/ 1495 w 1461197"/>
              <a:gd name="connsiteY4" fmla="*/ 494405 h 1091975"/>
              <a:gd name="connsiteX0" fmla="*/ 1495 w 1461197"/>
              <a:gd name="connsiteY0" fmla="*/ 494405 h 1091975"/>
              <a:gd name="connsiteX1" fmla="*/ 1232299 w 1461197"/>
              <a:gd name="connsiteY1" fmla="*/ 0 h 1091975"/>
              <a:gd name="connsiteX2" fmla="*/ 1461197 w 1461197"/>
              <a:gd name="connsiteY2" fmla="*/ 364803 h 1091975"/>
              <a:gd name="connsiteX3" fmla="*/ 0 w 1461197"/>
              <a:gd name="connsiteY3" fmla="*/ 1091975 h 1091975"/>
              <a:gd name="connsiteX4" fmla="*/ 1495 w 1461197"/>
              <a:gd name="connsiteY4" fmla="*/ 494405 h 1091975"/>
              <a:gd name="connsiteX0" fmla="*/ 3788 w 1463490"/>
              <a:gd name="connsiteY0" fmla="*/ 494405 h 1073782"/>
              <a:gd name="connsiteX1" fmla="*/ 1234592 w 1463490"/>
              <a:gd name="connsiteY1" fmla="*/ 0 h 1073782"/>
              <a:gd name="connsiteX2" fmla="*/ 1463490 w 1463490"/>
              <a:gd name="connsiteY2" fmla="*/ 364803 h 1073782"/>
              <a:gd name="connsiteX3" fmla="*/ 0 w 1463490"/>
              <a:gd name="connsiteY3" fmla="*/ 1073782 h 1073782"/>
              <a:gd name="connsiteX4" fmla="*/ 3788 w 1463490"/>
              <a:gd name="connsiteY4" fmla="*/ 494405 h 1073782"/>
              <a:gd name="connsiteX0" fmla="*/ 0 w 1464288"/>
              <a:gd name="connsiteY0" fmla="*/ 494405 h 1073782"/>
              <a:gd name="connsiteX1" fmla="*/ 1235390 w 1464288"/>
              <a:gd name="connsiteY1" fmla="*/ 0 h 1073782"/>
              <a:gd name="connsiteX2" fmla="*/ 1464288 w 1464288"/>
              <a:gd name="connsiteY2" fmla="*/ 364803 h 1073782"/>
              <a:gd name="connsiteX3" fmla="*/ 798 w 1464288"/>
              <a:gd name="connsiteY3" fmla="*/ 1073782 h 1073782"/>
              <a:gd name="connsiteX4" fmla="*/ 0 w 1464288"/>
              <a:gd name="connsiteY4" fmla="*/ 494405 h 1073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4288" h="1073782">
                <a:moveTo>
                  <a:pt x="0" y="494405"/>
                </a:moveTo>
                <a:lnTo>
                  <a:pt x="1235390" y="0"/>
                </a:lnTo>
                <a:lnTo>
                  <a:pt x="1464288" y="364803"/>
                </a:lnTo>
                <a:lnTo>
                  <a:pt x="798" y="1073782"/>
                </a:lnTo>
                <a:cubicBezTo>
                  <a:pt x="3432" y="869657"/>
                  <a:pt x="1360" y="766819"/>
                  <a:pt x="0" y="49440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C53CD630-7E1B-3321-FE92-CB0ABBA6CA57}"/>
              </a:ext>
            </a:extLst>
          </p:cNvPr>
          <p:cNvSpPr/>
          <p:nvPr/>
        </p:nvSpPr>
        <p:spPr>
          <a:xfrm flipH="1">
            <a:off x="1013076" y="4098656"/>
            <a:ext cx="2157293" cy="1190577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3175 w 1316947"/>
              <a:gd name="connsiteY0" fmla="*/ 139700 h 692150"/>
              <a:gd name="connsiteX1" fmla="*/ 817351 w 1316947"/>
              <a:gd name="connsiteY1" fmla="*/ 0 h 692150"/>
              <a:gd name="connsiteX2" fmla="*/ 1316947 w 1316947"/>
              <a:gd name="connsiteY2" fmla="*/ 463550 h 692150"/>
              <a:gd name="connsiteX3" fmla="*/ 0 w 1316947"/>
              <a:gd name="connsiteY3" fmla="*/ 692150 h 692150"/>
              <a:gd name="connsiteX4" fmla="*/ 3175 w 1316947"/>
              <a:gd name="connsiteY4" fmla="*/ 139700 h 692150"/>
              <a:gd name="connsiteX0" fmla="*/ 3175 w 840003"/>
              <a:gd name="connsiteY0" fmla="*/ 139700 h 692150"/>
              <a:gd name="connsiteX1" fmla="*/ 817351 w 840003"/>
              <a:gd name="connsiteY1" fmla="*/ 0 h 692150"/>
              <a:gd name="connsiteX2" fmla="*/ 840003 w 840003"/>
              <a:gd name="connsiteY2" fmla="*/ 368300 h 692150"/>
              <a:gd name="connsiteX3" fmla="*/ 0 w 840003"/>
              <a:gd name="connsiteY3" fmla="*/ 692150 h 692150"/>
              <a:gd name="connsiteX4" fmla="*/ 3175 w 840003"/>
              <a:gd name="connsiteY4" fmla="*/ 139700 h 692150"/>
              <a:gd name="connsiteX0" fmla="*/ 3175 w 1123444"/>
              <a:gd name="connsiteY0" fmla="*/ 139700 h 692150"/>
              <a:gd name="connsiteX1" fmla="*/ 817351 w 1123444"/>
              <a:gd name="connsiteY1" fmla="*/ 0 h 692150"/>
              <a:gd name="connsiteX2" fmla="*/ 1123444 w 1123444"/>
              <a:gd name="connsiteY2" fmla="*/ 428625 h 692150"/>
              <a:gd name="connsiteX3" fmla="*/ 0 w 1123444"/>
              <a:gd name="connsiteY3" fmla="*/ 692150 h 692150"/>
              <a:gd name="connsiteX4" fmla="*/ 3175 w 1123444"/>
              <a:gd name="connsiteY4" fmla="*/ 139700 h 692150"/>
              <a:gd name="connsiteX0" fmla="*/ 65 w 1120334"/>
              <a:gd name="connsiteY0" fmla="*/ 139700 h 802569"/>
              <a:gd name="connsiteX1" fmla="*/ 814241 w 1120334"/>
              <a:gd name="connsiteY1" fmla="*/ 0 h 802569"/>
              <a:gd name="connsiteX2" fmla="*/ 1120334 w 1120334"/>
              <a:gd name="connsiteY2" fmla="*/ 428625 h 802569"/>
              <a:gd name="connsiteX3" fmla="*/ 10319 w 1120334"/>
              <a:gd name="connsiteY3" fmla="*/ 802569 h 802569"/>
              <a:gd name="connsiteX4" fmla="*/ 65 w 1120334"/>
              <a:gd name="connsiteY4" fmla="*/ 139700 h 802569"/>
              <a:gd name="connsiteX0" fmla="*/ 87 w 1116998"/>
              <a:gd name="connsiteY0" fmla="*/ 265177 h 802569"/>
              <a:gd name="connsiteX1" fmla="*/ 810905 w 1116998"/>
              <a:gd name="connsiteY1" fmla="*/ 0 h 802569"/>
              <a:gd name="connsiteX2" fmla="*/ 1116998 w 1116998"/>
              <a:gd name="connsiteY2" fmla="*/ 428625 h 802569"/>
              <a:gd name="connsiteX3" fmla="*/ 6983 w 1116998"/>
              <a:gd name="connsiteY3" fmla="*/ 802569 h 802569"/>
              <a:gd name="connsiteX4" fmla="*/ 87 w 1116998"/>
              <a:gd name="connsiteY4" fmla="*/ 265177 h 802569"/>
              <a:gd name="connsiteX0" fmla="*/ 51 w 1123677"/>
              <a:gd name="connsiteY0" fmla="*/ 260158 h 802569"/>
              <a:gd name="connsiteX1" fmla="*/ 817584 w 1123677"/>
              <a:gd name="connsiteY1" fmla="*/ 0 h 802569"/>
              <a:gd name="connsiteX2" fmla="*/ 1123677 w 1123677"/>
              <a:gd name="connsiteY2" fmla="*/ 428625 h 802569"/>
              <a:gd name="connsiteX3" fmla="*/ 13662 w 1123677"/>
              <a:gd name="connsiteY3" fmla="*/ 802569 h 802569"/>
              <a:gd name="connsiteX4" fmla="*/ 51 w 1123677"/>
              <a:gd name="connsiteY4" fmla="*/ 260158 h 802569"/>
              <a:gd name="connsiteX0" fmla="*/ 64 w 1123690"/>
              <a:gd name="connsiteY0" fmla="*/ 260158 h 812607"/>
              <a:gd name="connsiteX1" fmla="*/ 817597 w 1123690"/>
              <a:gd name="connsiteY1" fmla="*/ 0 h 812607"/>
              <a:gd name="connsiteX2" fmla="*/ 1123690 w 1123690"/>
              <a:gd name="connsiteY2" fmla="*/ 428625 h 812607"/>
              <a:gd name="connsiteX3" fmla="*/ 10318 w 1123690"/>
              <a:gd name="connsiteY3" fmla="*/ 812607 h 812607"/>
              <a:gd name="connsiteX4" fmla="*/ 64 w 1123690"/>
              <a:gd name="connsiteY4" fmla="*/ 260158 h 812607"/>
              <a:gd name="connsiteX0" fmla="*/ 64 w 1012898"/>
              <a:gd name="connsiteY0" fmla="*/ 260158 h 812607"/>
              <a:gd name="connsiteX1" fmla="*/ 817597 w 1012898"/>
              <a:gd name="connsiteY1" fmla="*/ 0 h 812607"/>
              <a:gd name="connsiteX2" fmla="*/ 1012898 w 1012898"/>
              <a:gd name="connsiteY2" fmla="*/ 378435 h 812607"/>
              <a:gd name="connsiteX3" fmla="*/ 10318 w 1012898"/>
              <a:gd name="connsiteY3" fmla="*/ 812607 h 812607"/>
              <a:gd name="connsiteX4" fmla="*/ 64 w 1012898"/>
              <a:gd name="connsiteY4" fmla="*/ 260158 h 812607"/>
              <a:gd name="connsiteX0" fmla="*/ 64 w 1036400"/>
              <a:gd name="connsiteY0" fmla="*/ 260158 h 812607"/>
              <a:gd name="connsiteX1" fmla="*/ 817597 w 1036400"/>
              <a:gd name="connsiteY1" fmla="*/ 0 h 812607"/>
              <a:gd name="connsiteX2" fmla="*/ 1036400 w 1036400"/>
              <a:gd name="connsiteY2" fmla="*/ 368397 h 812607"/>
              <a:gd name="connsiteX3" fmla="*/ 10318 w 1036400"/>
              <a:gd name="connsiteY3" fmla="*/ 812607 h 812607"/>
              <a:gd name="connsiteX4" fmla="*/ 64 w 1036400"/>
              <a:gd name="connsiteY4" fmla="*/ 260158 h 812607"/>
              <a:gd name="connsiteX0" fmla="*/ 86 w 1036422"/>
              <a:gd name="connsiteY0" fmla="*/ 260158 h 812607"/>
              <a:gd name="connsiteX1" fmla="*/ 817619 w 1036422"/>
              <a:gd name="connsiteY1" fmla="*/ 0 h 812607"/>
              <a:gd name="connsiteX2" fmla="*/ 1036422 w 1036422"/>
              <a:gd name="connsiteY2" fmla="*/ 368397 h 812607"/>
              <a:gd name="connsiteX3" fmla="*/ 6982 w 1036422"/>
              <a:gd name="connsiteY3" fmla="*/ 812607 h 812607"/>
              <a:gd name="connsiteX4" fmla="*/ 86 w 1036422"/>
              <a:gd name="connsiteY4" fmla="*/ 260158 h 812607"/>
              <a:gd name="connsiteX0" fmla="*/ 20165 w 1056501"/>
              <a:gd name="connsiteY0" fmla="*/ 260158 h 826501"/>
              <a:gd name="connsiteX1" fmla="*/ 837698 w 1056501"/>
              <a:gd name="connsiteY1" fmla="*/ 0 h 826501"/>
              <a:gd name="connsiteX2" fmla="*/ 1056501 w 1056501"/>
              <a:gd name="connsiteY2" fmla="*/ 368397 h 826501"/>
              <a:gd name="connsiteX3" fmla="*/ 0 w 1056501"/>
              <a:gd name="connsiteY3" fmla="*/ 826501 h 826501"/>
              <a:gd name="connsiteX4" fmla="*/ 20165 w 1056501"/>
              <a:gd name="connsiteY4" fmla="*/ 260158 h 826501"/>
              <a:gd name="connsiteX0" fmla="*/ 20165 w 1084260"/>
              <a:gd name="connsiteY0" fmla="*/ 510258 h 1076601"/>
              <a:gd name="connsiteX1" fmla="*/ 1084260 w 1084260"/>
              <a:gd name="connsiteY1" fmla="*/ 0 h 1076601"/>
              <a:gd name="connsiteX2" fmla="*/ 1056501 w 1084260"/>
              <a:gd name="connsiteY2" fmla="*/ 618497 h 1076601"/>
              <a:gd name="connsiteX3" fmla="*/ 0 w 1084260"/>
              <a:gd name="connsiteY3" fmla="*/ 1076601 h 1076601"/>
              <a:gd name="connsiteX4" fmla="*/ 20165 w 1084260"/>
              <a:gd name="connsiteY4" fmla="*/ 510258 h 1076601"/>
              <a:gd name="connsiteX0" fmla="*/ 20165 w 1279008"/>
              <a:gd name="connsiteY0" fmla="*/ 510258 h 1076601"/>
              <a:gd name="connsiteX1" fmla="*/ 1084260 w 1279008"/>
              <a:gd name="connsiteY1" fmla="*/ 0 h 1076601"/>
              <a:gd name="connsiteX2" fmla="*/ 1279008 w 1279008"/>
              <a:gd name="connsiteY2" fmla="*/ 377660 h 1076601"/>
              <a:gd name="connsiteX3" fmla="*/ 0 w 1279008"/>
              <a:gd name="connsiteY3" fmla="*/ 1076601 h 1076601"/>
              <a:gd name="connsiteX4" fmla="*/ 20165 w 1279008"/>
              <a:gd name="connsiteY4" fmla="*/ 510258 h 1076601"/>
              <a:gd name="connsiteX0" fmla="*/ 20165 w 1285021"/>
              <a:gd name="connsiteY0" fmla="*/ 510258 h 1076601"/>
              <a:gd name="connsiteX1" fmla="*/ 1084260 w 1285021"/>
              <a:gd name="connsiteY1" fmla="*/ 0 h 1076601"/>
              <a:gd name="connsiteX2" fmla="*/ 1285021 w 1285021"/>
              <a:gd name="connsiteY2" fmla="*/ 368396 h 1076601"/>
              <a:gd name="connsiteX3" fmla="*/ 0 w 1285021"/>
              <a:gd name="connsiteY3" fmla="*/ 1076601 h 1076601"/>
              <a:gd name="connsiteX4" fmla="*/ 20165 w 1285021"/>
              <a:gd name="connsiteY4" fmla="*/ 510258 h 1076601"/>
              <a:gd name="connsiteX0" fmla="*/ 13 w 1264869"/>
              <a:gd name="connsiteY0" fmla="*/ 510258 h 1095127"/>
              <a:gd name="connsiteX1" fmla="*/ 1064108 w 1264869"/>
              <a:gd name="connsiteY1" fmla="*/ 0 h 1095127"/>
              <a:gd name="connsiteX2" fmla="*/ 1264869 w 1264869"/>
              <a:gd name="connsiteY2" fmla="*/ 368396 h 1095127"/>
              <a:gd name="connsiteX3" fmla="*/ 64040 w 1264869"/>
              <a:gd name="connsiteY3" fmla="*/ 1095127 h 1095127"/>
              <a:gd name="connsiteX4" fmla="*/ 13 w 1264869"/>
              <a:gd name="connsiteY4" fmla="*/ 510258 h 1095127"/>
              <a:gd name="connsiteX0" fmla="*/ 2124 w 1266980"/>
              <a:gd name="connsiteY0" fmla="*/ 510258 h 1071969"/>
              <a:gd name="connsiteX1" fmla="*/ 1066219 w 1266980"/>
              <a:gd name="connsiteY1" fmla="*/ 0 h 1071969"/>
              <a:gd name="connsiteX2" fmla="*/ 1266980 w 1266980"/>
              <a:gd name="connsiteY2" fmla="*/ 368396 h 1071969"/>
              <a:gd name="connsiteX3" fmla="*/ 0 w 1266980"/>
              <a:gd name="connsiteY3" fmla="*/ 1071969 h 1071969"/>
              <a:gd name="connsiteX4" fmla="*/ 2124 w 1266980"/>
              <a:gd name="connsiteY4" fmla="*/ 510258 h 1071969"/>
              <a:gd name="connsiteX0" fmla="*/ 7312 w 1272168"/>
              <a:gd name="connsiteY0" fmla="*/ 510258 h 1099934"/>
              <a:gd name="connsiteX1" fmla="*/ 1071407 w 1272168"/>
              <a:gd name="connsiteY1" fmla="*/ 0 h 1099934"/>
              <a:gd name="connsiteX2" fmla="*/ 1272168 w 1272168"/>
              <a:gd name="connsiteY2" fmla="*/ 368396 h 1099934"/>
              <a:gd name="connsiteX3" fmla="*/ 0 w 1272168"/>
              <a:gd name="connsiteY3" fmla="*/ 1099934 h 1099934"/>
              <a:gd name="connsiteX4" fmla="*/ 7312 w 1272168"/>
              <a:gd name="connsiteY4" fmla="*/ 510258 h 1099934"/>
              <a:gd name="connsiteX0" fmla="*/ 21564 w 1286420"/>
              <a:gd name="connsiteY0" fmla="*/ 510258 h 1099934"/>
              <a:gd name="connsiteX1" fmla="*/ 1085659 w 1286420"/>
              <a:gd name="connsiteY1" fmla="*/ 0 h 1099934"/>
              <a:gd name="connsiteX2" fmla="*/ 1286420 w 1286420"/>
              <a:gd name="connsiteY2" fmla="*/ 368396 h 1099934"/>
              <a:gd name="connsiteX3" fmla="*/ 0 w 1286420"/>
              <a:gd name="connsiteY3" fmla="*/ 1099934 h 1099934"/>
              <a:gd name="connsiteX4" fmla="*/ 21564 w 1286420"/>
              <a:gd name="connsiteY4" fmla="*/ 510258 h 1099934"/>
              <a:gd name="connsiteX0" fmla="*/ 209 w 1287867"/>
              <a:gd name="connsiteY0" fmla="*/ 510258 h 1099934"/>
              <a:gd name="connsiteX1" fmla="*/ 1087106 w 1287867"/>
              <a:gd name="connsiteY1" fmla="*/ 0 h 1099934"/>
              <a:gd name="connsiteX2" fmla="*/ 1287867 w 1287867"/>
              <a:gd name="connsiteY2" fmla="*/ 368396 h 1099934"/>
              <a:gd name="connsiteX3" fmla="*/ 1447 w 1287867"/>
              <a:gd name="connsiteY3" fmla="*/ 1099934 h 1099934"/>
              <a:gd name="connsiteX4" fmla="*/ 209 w 1287867"/>
              <a:gd name="connsiteY4" fmla="*/ 510258 h 1099934"/>
              <a:gd name="connsiteX0" fmla="*/ 106 w 1287764"/>
              <a:gd name="connsiteY0" fmla="*/ 510258 h 1093869"/>
              <a:gd name="connsiteX1" fmla="*/ 1087003 w 1287764"/>
              <a:gd name="connsiteY1" fmla="*/ 0 h 1093869"/>
              <a:gd name="connsiteX2" fmla="*/ 1287764 w 1287764"/>
              <a:gd name="connsiteY2" fmla="*/ 368396 h 1093869"/>
              <a:gd name="connsiteX3" fmla="*/ 5281 w 1287764"/>
              <a:gd name="connsiteY3" fmla="*/ 1093869 h 1093869"/>
              <a:gd name="connsiteX4" fmla="*/ 106 w 1287764"/>
              <a:gd name="connsiteY4" fmla="*/ 510258 h 1093869"/>
              <a:gd name="connsiteX0" fmla="*/ 2699 w 1290357"/>
              <a:gd name="connsiteY0" fmla="*/ 510258 h 1096902"/>
              <a:gd name="connsiteX1" fmla="*/ 1089596 w 1290357"/>
              <a:gd name="connsiteY1" fmla="*/ 0 h 1096902"/>
              <a:gd name="connsiteX2" fmla="*/ 1290357 w 1290357"/>
              <a:gd name="connsiteY2" fmla="*/ 368396 h 1096902"/>
              <a:gd name="connsiteX3" fmla="*/ 0 w 1290357"/>
              <a:gd name="connsiteY3" fmla="*/ 1096902 h 1096902"/>
              <a:gd name="connsiteX4" fmla="*/ 2699 w 1290357"/>
              <a:gd name="connsiteY4" fmla="*/ 510258 h 1096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0357" h="1096902">
                <a:moveTo>
                  <a:pt x="2699" y="510258"/>
                </a:moveTo>
                <a:lnTo>
                  <a:pt x="1089596" y="0"/>
                </a:lnTo>
                <a:lnTo>
                  <a:pt x="1290357" y="368396"/>
                </a:lnTo>
                <a:lnTo>
                  <a:pt x="0" y="1096902"/>
                </a:lnTo>
                <a:cubicBezTo>
                  <a:pt x="1058" y="912752"/>
                  <a:pt x="1641" y="694408"/>
                  <a:pt x="2699" y="51025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86B695B6-3B4D-65CE-7BEA-887B17F254BD}"/>
              </a:ext>
            </a:extLst>
          </p:cNvPr>
          <p:cNvSpPr/>
          <p:nvPr/>
        </p:nvSpPr>
        <p:spPr>
          <a:xfrm>
            <a:off x="3153928" y="3604983"/>
            <a:ext cx="1713943" cy="877696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7086 w 1316947"/>
              <a:gd name="connsiteY0" fmla="*/ 224719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7086 w 1316947"/>
              <a:gd name="connsiteY4" fmla="*/ 224719 h 666750"/>
              <a:gd name="connsiteX0" fmla="*/ 3175 w 1313036"/>
              <a:gd name="connsiteY0" fmla="*/ 224719 h 777169"/>
              <a:gd name="connsiteX1" fmla="*/ 960611 w 1313036"/>
              <a:gd name="connsiteY1" fmla="*/ 0 h 777169"/>
              <a:gd name="connsiteX2" fmla="*/ 1313036 w 1313036"/>
              <a:gd name="connsiteY2" fmla="*/ 438150 h 777169"/>
              <a:gd name="connsiteX3" fmla="*/ 0 w 1313036"/>
              <a:gd name="connsiteY3" fmla="*/ 777169 h 777169"/>
              <a:gd name="connsiteX4" fmla="*/ 3175 w 1313036"/>
              <a:gd name="connsiteY4" fmla="*/ 224719 h 777169"/>
              <a:gd name="connsiteX0" fmla="*/ 3175 w 1219167"/>
              <a:gd name="connsiteY0" fmla="*/ 224719 h 777169"/>
              <a:gd name="connsiteX1" fmla="*/ 960611 w 1219167"/>
              <a:gd name="connsiteY1" fmla="*/ 0 h 777169"/>
              <a:gd name="connsiteX2" fmla="*/ 1219167 w 1219167"/>
              <a:gd name="connsiteY2" fmla="*/ 418074 h 777169"/>
              <a:gd name="connsiteX3" fmla="*/ 0 w 1219167"/>
              <a:gd name="connsiteY3" fmla="*/ 777169 h 777169"/>
              <a:gd name="connsiteX4" fmla="*/ 3175 w 1219167"/>
              <a:gd name="connsiteY4" fmla="*/ 224719 h 777169"/>
              <a:gd name="connsiteX0" fmla="*/ 3175 w 1168321"/>
              <a:gd name="connsiteY0" fmla="*/ 224719 h 777169"/>
              <a:gd name="connsiteX1" fmla="*/ 960611 w 1168321"/>
              <a:gd name="connsiteY1" fmla="*/ 0 h 777169"/>
              <a:gd name="connsiteX2" fmla="*/ 1168321 w 1168321"/>
              <a:gd name="connsiteY2" fmla="*/ 337769 h 777169"/>
              <a:gd name="connsiteX3" fmla="*/ 0 w 1168321"/>
              <a:gd name="connsiteY3" fmla="*/ 777169 h 777169"/>
              <a:gd name="connsiteX4" fmla="*/ 3175 w 1168321"/>
              <a:gd name="connsiteY4" fmla="*/ 224719 h 777169"/>
              <a:gd name="connsiteX0" fmla="*/ 3175 w 1203522"/>
              <a:gd name="connsiteY0" fmla="*/ 224719 h 777169"/>
              <a:gd name="connsiteX1" fmla="*/ 960611 w 1203522"/>
              <a:gd name="connsiteY1" fmla="*/ 0 h 777169"/>
              <a:gd name="connsiteX2" fmla="*/ 1203522 w 1203522"/>
              <a:gd name="connsiteY2" fmla="*/ 387960 h 777169"/>
              <a:gd name="connsiteX3" fmla="*/ 0 w 1203522"/>
              <a:gd name="connsiteY3" fmla="*/ 777169 h 777169"/>
              <a:gd name="connsiteX4" fmla="*/ 3175 w 1203522"/>
              <a:gd name="connsiteY4" fmla="*/ 224719 h 777169"/>
              <a:gd name="connsiteX0" fmla="*/ 9 w 1200356"/>
              <a:gd name="connsiteY0" fmla="*/ 224719 h 636636"/>
              <a:gd name="connsiteX1" fmla="*/ 957445 w 1200356"/>
              <a:gd name="connsiteY1" fmla="*/ 0 h 636636"/>
              <a:gd name="connsiteX2" fmla="*/ 1200356 w 1200356"/>
              <a:gd name="connsiteY2" fmla="*/ 387960 h 636636"/>
              <a:gd name="connsiteX3" fmla="*/ 90703 w 1200356"/>
              <a:gd name="connsiteY3" fmla="*/ 636636 h 636636"/>
              <a:gd name="connsiteX4" fmla="*/ 9 w 1200356"/>
              <a:gd name="connsiteY4" fmla="*/ 224719 h 636636"/>
              <a:gd name="connsiteX0" fmla="*/ 239 w 1200586"/>
              <a:gd name="connsiteY0" fmla="*/ 224719 h 762112"/>
              <a:gd name="connsiteX1" fmla="*/ 957675 w 1200586"/>
              <a:gd name="connsiteY1" fmla="*/ 0 h 762112"/>
              <a:gd name="connsiteX2" fmla="*/ 1200586 w 1200586"/>
              <a:gd name="connsiteY2" fmla="*/ 387960 h 762112"/>
              <a:gd name="connsiteX3" fmla="*/ 975 w 1200586"/>
              <a:gd name="connsiteY3" fmla="*/ 762112 h 762112"/>
              <a:gd name="connsiteX4" fmla="*/ 239 w 1200586"/>
              <a:gd name="connsiteY4" fmla="*/ 224719 h 762112"/>
              <a:gd name="connsiteX0" fmla="*/ 30790 w 1199611"/>
              <a:gd name="connsiteY0" fmla="*/ 305630 h 762112"/>
              <a:gd name="connsiteX1" fmla="*/ 956700 w 1199611"/>
              <a:gd name="connsiteY1" fmla="*/ 0 h 762112"/>
              <a:gd name="connsiteX2" fmla="*/ 1199611 w 1199611"/>
              <a:gd name="connsiteY2" fmla="*/ 387960 h 762112"/>
              <a:gd name="connsiteX3" fmla="*/ 0 w 1199611"/>
              <a:gd name="connsiteY3" fmla="*/ 762112 h 762112"/>
              <a:gd name="connsiteX4" fmla="*/ 30790 w 1199611"/>
              <a:gd name="connsiteY4" fmla="*/ 305630 h 762112"/>
              <a:gd name="connsiteX0" fmla="*/ 79 w 1207432"/>
              <a:gd name="connsiteY0" fmla="*/ 242700 h 762112"/>
              <a:gd name="connsiteX1" fmla="*/ 964521 w 1207432"/>
              <a:gd name="connsiteY1" fmla="*/ 0 h 762112"/>
              <a:gd name="connsiteX2" fmla="*/ 1207432 w 1207432"/>
              <a:gd name="connsiteY2" fmla="*/ 387960 h 762112"/>
              <a:gd name="connsiteX3" fmla="*/ 7821 w 1207432"/>
              <a:gd name="connsiteY3" fmla="*/ 762112 h 762112"/>
              <a:gd name="connsiteX4" fmla="*/ 79 w 1207432"/>
              <a:gd name="connsiteY4" fmla="*/ 242700 h 762112"/>
              <a:gd name="connsiteX0" fmla="*/ 119 w 1207472"/>
              <a:gd name="connsiteY0" fmla="*/ 242700 h 789082"/>
              <a:gd name="connsiteX1" fmla="*/ 964561 w 1207472"/>
              <a:gd name="connsiteY1" fmla="*/ 0 h 789082"/>
              <a:gd name="connsiteX2" fmla="*/ 1207472 w 1207472"/>
              <a:gd name="connsiteY2" fmla="*/ 387960 h 789082"/>
              <a:gd name="connsiteX3" fmla="*/ 4358 w 1207472"/>
              <a:gd name="connsiteY3" fmla="*/ 789082 h 789082"/>
              <a:gd name="connsiteX4" fmla="*/ 119 w 1207472"/>
              <a:gd name="connsiteY4" fmla="*/ 242700 h 789082"/>
              <a:gd name="connsiteX0" fmla="*/ 50 w 1207403"/>
              <a:gd name="connsiteY0" fmla="*/ 242700 h 784821"/>
              <a:gd name="connsiteX1" fmla="*/ 964492 w 1207403"/>
              <a:gd name="connsiteY1" fmla="*/ 0 h 784821"/>
              <a:gd name="connsiteX2" fmla="*/ 1207403 w 1207403"/>
              <a:gd name="connsiteY2" fmla="*/ 387960 h 784821"/>
              <a:gd name="connsiteX3" fmla="*/ 14250 w 1207403"/>
              <a:gd name="connsiteY3" fmla="*/ 784821 h 784821"/>
              <a:gd name="connsiteX4" fmla="*/ 50 w 1207403"/>
              <a:gd name="connsiteY4" fmla="*/ 242700 h 784821"/>
              <a:gd name="connsiteX0" fmla="*/ 2403 w 1193153"/>
              <a:gd name="connsiteY0" fmla="*/ 246960 h 784821"/>
              <a:gd name="connsiteX1" fmla="*/ 950242 w 1193153"/>
              <a:gd name="connsiteY1" fmla="*/ 0 h 784821"/>
              <a:gd name="connsiteX2" fmla="*/ 1193153 w 1193153"/>
              <a:gd name="connsiteY2" fmla="*/ 387960 h 784821"/>
              <a:gd name="connsiteX3" fmla="*/ 0 w 1193153"/>
              <a:gd name="connsiteY3" fmla="*/ 784821 h 784821"/>
              <a:gd name="connsiteX4" fmla="*/ 2403 w 1193153"/>
              <a:gd name="connsiteY4" fmla="*/ 246960 h 784821"/>
              <a:gd name="connsiteX0" fmla="*/ 227 w 1194297"/>
              <a:gd name="connsiteY0" fmla="*/ 238438 h 784821"/>
              <a:gd name="connsiteX1" fmla="*/ 951386 w 1194297"/>
              <a:gd name="connsiteY1" fmla="*/ 0 h 784821"/>
              <a:gd name="connsiteX2" fmla="*/ 1194297 w 1194297"/>
              <a:gd name="connsiteY2" fmla="*/ 387960 h 784821"/>
              <a:gd name="connsiteX3" fmla="*/ 1144 w 1194297"/>
              <a:gd name="connsiteY3" fmla="*/ 784821 h 784821"/>
              <a:gd name="connsiteX4" fmla="*/ 227 w 1194297"/>
              <a:gd name="connsiteY4" fmla="*/ 238438 h 78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297" h="784821">
                <a:moveTo>
                  <a:pt x="227" y="238438"/>
                </a:moveTo>
                <a:lnTo>
                  <a:pt x="951386" y="0"/>
                </a:lnTo>
                <a:lnTo>
                  <a:pt x="1194297" y="387960"/>
                </a:lnTo>
                <a:lnTo>
                  <a:pt x="1144" y="784821"/>
                </a:lnTo>
                <a:cubicBezTo>
                  <a:pt x="2202" y="600671"/>
                  <a:pt x="-831" y="422588"/>
                  <a:pt x="227" y="238438"/>
                </a:cubicBezTo>
                <a:close/>
              </a:path>
            </a:pathLst>
          </a:custGeom>
          <a:solidFill>
            <a:srgbClr val="A2D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1DCE4556-FE07-5A03-E975-EDA695EEB070}"/>
              </a:ext>
            </a:extLst>
          </p:cNvPr>
          <p:cNvSpPr/>
          <p:nvPr/>
        </p:nvSpPr>
        <p:spPr>
          <a:xfrm flipH="1">
            <a:off x="1421002" y="3576577"/>
            <a:ext cx="1744899" cy="908772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3175 w 1316947"/>
              <a:gd name="connsiteY0" fmla="*/ 139700 h 692150"/>
              <a:gd name="connsiteX1" fmla="*/ 817351 w 1316947"/>
              <a:gd name="connsiteY1" fmla="*/ 0 h 692150"/>
              <a:gd name="connsiteX2" fmla="*/ 1316947 w 1316947"/>
              <a:gd name="connsiteY2" fmla="*/ 463550 h 692150"/>
              <a:gd name="connsiteX3" fmla="*/ 0 w 1316947"/>
              <a:gd name="connsiteY3" fmla="*/ 692150 h 692150"/>
              <a:gd name="connsiteX4" fmla="*/ 3175 w 1316947"/>
              <a:gd name="connsiteY4" fmla="*/ 139700 h 692150"/>
              <a:gd name="connsiteX0" fmla="*/ 3175 w 840003"/>
              <a:gd name="connsiteY0" fmla="*/ 139700 h 692150"/>
              <a:gd name="connsiteX1" fmla="*/ 817351 w 840003"/>
              <a:gd name="connsiteY1" fmla="*/ 0 h 692150"/>
              <a:gd name="connsiteX2" fmla="*/ 840003 w 840003"/>
              <a:gd name="connsiteY2" fmla="*/ 368300 h 692150"/>
              <a:gd name="connsiteX3" fmla="*/ 0 w 840003"/>
              <a:gd name="connsiteY3" fmla="*/ 692150 h 692150"/>
              <a:gd name="connsiteX4" fmla="*/ 3175 w 840003"/>
              <a:gd name="connsiteY4" fmla="*/ 139700 h 692150"/>
              <a:gd name="connsiteX0" fmla="*/ 3175 w 1123444"/>
              <a:gd name="connsiteY0" fmla="*/ 139700 h 692150"/>
              <a:gd name="connsiteX1" fmla="*/ 817351 w 1123444"/>
              <a:gd name="connsiteY1" fmla="*/ 0 h 692150"/>
              <a:gd name="connsiteX2" fmla="*/ 1123444 w 1123444"/>
              <a:gd name="connsiteY2" fmla="*/ 428625 h 692150"/>
              <a:gd name="connsiteX3" fmla="*/ 0 w 1123444"/>
              <a:gd name="connsiteY3" fmla="*/ 692150 h 692150"/>
              <a:gd name="connsiteX4" fmla="*/ 3175 w 1123444"/>
              <a:gd name="connsiteY4" fmla="*/ 139700 h 692150"/>
              <a:gd name="connsiteX0" fmla="*/ 65 w 1120334"/>
              <a:gd name="connsiteY0" fmla="*/ 139700 h 802569"/>
              <a:gd name="connsiteX1" fmla="*/ 814241 w 1120334"/>
              <a:gd name="connsiteY1" fmla="*/ 0 h 802569"/>
              <a:gd name="connsiteX2" fmla="*/ 1120334 w 1120334"/>
              <a:gd name="connsiteY2" fmla="*/ 428625 h 802569"/>
              <a:gd name="connsiteX3" fmla="*/ 10319 w 1120334"/>
              <a:gd name="connsiteY3" fmla="*/ 802569 h 802569"/>
              <a:gd name="connsiteX4" fmla="*/ 65 w 1120334"/>
              <a:gd name="connsiteY4" fmla="*/ 139700 h 802569"/>
              <a:gd name="connsiteX0" fmla="*/ 87 w 1116998"/>
              <a:gd name="connsiteY0" fmla="*/ 265177 h 802569"/>
              <a:gd name="connsiteX1" fmla="*/ 810905 w 1116998"/>
              <a:gd name="connsiteY1" fmla="*/ 0 h 802569"/>
              <a:gd name="connsiteX2" fmla="*/ 1116998 w 1116998"/>
              <a:gd name="connsiteY2" fmla="*/ 428625 h 802569"/>
              <a:gd name="connsiteX3" fmla="*/ 6983 w 1116998"/>
              <a:gd name="connsiteY3" fmla="*/ 802569 h 802569"/>
              <a:gd name="connsiteX4" fmla="*/ 87 w 1116998"/>
              <a:gd name="connsiteY4" fmla="*/ 265177 h 802569"/>
              <a:gd name="connsiteX0" fmla="*/ 51 w 1123677"/>
              <a:gd name="connsiteY0" fmla="*/ 260158 h 802569"/>
              <a:gd name="connsiteX1" fmla="*/ 817584 w 1123677"/>
              <a:gd name="connsiteY1" fmla="*/ 0 h 802569"/>
              <a:gd name="connsiteX2" fmla="*/ 1123677 w 1123677"/>
              <a:gd name="connsiteY2" fmla="*/ 428625 h 802569"/>
              <a:gd name="connsiteX3" fmla="*/ 13662 w 1123677"/>
              <a:gd name="connsiteY3" fmla="*/ 802569 h 802569"/>
              <a:gd name="connsiteX4" fmla="*/ 51 w 1123677"/>
              <a:gd name="connsiteY4" fmla="*/ 260158 h 802569"/>
              <a:gd name="connsiteX0" fmla="*/ 64 w 1123690"/>
              <a:gd name="connsiteY0" fmla="*/ 260158 h 812607"/>
              <a:gd name="connsiteX1" fmla="*/ 817597 w 1123690"/>
              <a:gd name="connsiteY1" fmla="*/ 0 h 812607"/>
              <a:gd name="connsiteX2" fmla="*/ 1123690 w 1123690"/>
              <a:gd name="connsiteY2" fmla="*/ 428625 h 812607"/>
              <a:gd name="connsiteX3" fmla="*/ 10318 w 1123690"/>
              <a:gd name="connsiteY3" fmla="*/ 812607 h 812607"/>
              <a:gd name="connsiteX4" fmla="*/ 64 w 1123690"/>
              <a:gd name="connsiteY4" fmla="*/ 260158 h 812607"/>
              <a:gd name="connsiteX0" fmla="*/ 64 w 1012898"/>
              <a:gd name="connsiteY0" fmla="*/ 260158 h 812607"/>
              <a:gd name="connsiteX1" fmla="*/ 817597 w 1012898"/>
              <a:gd name="connsiteY1" fmla="*/ 0 h 812607"/>
              <a:gd name="connsiteX2" fmla="*/ 1012898 w 1012898"/>
              <a:gd name="connsiteY2" fmla="*/ 378435 h 812607"/>
              <a:gd name="connsiteX3" fmla="*/ 10318 w 1012898"/>
              <a:gd name="connsiteY3" fmla="*/ 812607 h 812607"/>
              <a:gd name="connsiteX4" fmla="*/ 64 w 1012898"/>
              <a:gd name="connsiteY4" fmla="*/ 260158 h 812607"/>
              <a:gd name="connsiteX0" fmla="*/ 64 w 1036400"/>
              <a:gd name="connsiteY0" fmla="*/ 260158 h 812607"/>
              <a:gd name="connsiteX1" fmla="*/ 817597 w 1036400"/>
              <a:gd name="connsiteY1" fmla="*/ 0 h 812607"/>
              <a:gd name="connsiteX2" fmla="*/ 1036400 w 1036400"/>
              <a:gd name="connsiteY2" fmla="*/ 368397 h 812607"/>
              <a:gd name="connsiteX3" fmla="*/ 10318 w 1036400"/>
              <a:gd name="connsiteY3" fmla="*/ 812607 h 812607"/>
              <a:gd name="connsiteX4" fmla="*/ 64 w 1036400"/>
              <a:gd name="connsiteY4" fmla="*/ 260158 h 812607"/>
              <a:gd name="connsiteX0" fmla="*/ 86 w 1036422"/>
              <a:gd name="connsiteY0" fmla="*/ 260158 h 812607"/>
              <a:gd name="connsiteX1" fmla="*/ 817619 w 1036422"/>
              <a:gd name="connsiteY1" fmla="*/ 0 h 812607"/>
              <a:gd name="connsiteX2" fmla="*/ 1036422 w 1036422"/>
              <a:gd name="connsiteY2" fmla="*/ 368397 h 812607"/>
              <a:gd name="connsiteX3" fmla="*/ 6982 w 1036422"/>
              <a:gd name="connsiteY3" fmla="*/ 812607 h 812607"/>
              <a:gd name="connsiteX4" fmla="*/ 86 w 1036422"/>
              <a:gd name="connsiteY4" fmla="*/ 260158 h 812607"/>
              <a:gd name="connsiteX0" fmla="*/ 7355 w 1043691"/>
              <a:gd name="connsiteY0" fmla="*/ 260158 h 812607"/>
              <a:gd name="connsiteX1" fmla="*/ 824888 w 1043691"/>
              <a:gd name="connsiteY1" fmla="*/ 0 h 812607"/>
              <a:gd name="connsiteX2" fmla="*/ 1043691 w 1043691"/>
              <a:gd name="connsiteY2" fmla="*/ 368397 h 812607"/>
              <a:gd name="connsiteX3" fmla="*/ 0 w 1043691"/>
              <a:gd name="connsiteY3" fmla="*/ 812607 h 812607"/>
              <a:gd name="connsiteX4" fmla="*/ 7355 w 1043691"/>
              <a:gd name="connsiteY4" fmla="*/ 260158 h 812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3691" h="812607">
                <a:moveTo>
                  <a:pt x="7355" y="260158"/>
                </a:moveTo>
                <a:lnTo>
                  <a:pt x="824888" y="0"/>
                </a:lnTo>
                <a:lnTo>
                  <a:pt x="1043691" y="368397"/>
                </a:lnTo>
                <a:lnTo>
                  <a:pt x="0" y="812607"/>
                </a:lnTo>
                <a:cubicBezTo>
                  <a:pt x="1058" y="628457"/>
                  <a:pt x="6297" y="444308"/>
                  <a:pt x="7355" y="26015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17D300A-6702-D78C-365F-E38C000386A1}"/>
              </a:ext>
            </a:extLst>
          </p:cNvPr>
          <p:cNvSpPr/>
          <p:nvPr/>
        </p:nvSpPr>
        <p:spPr>
          <a:xfrm>
            <a:off x="3130573" y="3067227"/>
            <a:ext cx="1317692" cy="667128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16947" h="666750">
                <a:moveTo>
                  <a:pt x="3175" y="114300"/>
                </a:moveTo>
                <a:lnTo>
                  <a:pt x="964522" y="0"/>
                </a:lnTo>
                <a:lnTo>
                  <a:pt x="1316947" y="438150"/>
                </a:lnTo>
                <a:lnTo>
                  <a:pt x="0" y="666750"/>
                </a:lnTo>
                <a:cubicBezTo>
                  <a:pt x="1058" y="482600"/>
                  <a:pt x="2117" y="298450"/>
                  <a:pt x="3175" y="11430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D21206D6-F5D5-E419-7A4B-F38C8222AB69}"/>
              </a:ext>
            </a:extLst>
          </p:cNvPr>
          <p:cNvSpPr/>
          <p:nvPr/>
        </p:nvSpPr>
        <p:spPr>
          <a:xfrm flipH="1">
            <a:off x="1833763" y="3041813"/>
            <a:ext cx="1309518" cy="692542"/>
          </a:xfrm>
          <a:custGeom>
            <a:avLst/>
            <a:gdLst>
              <a:gd name="connsiteX0" fmla="*/ 0 w 1088347"/>
              <a:gd name="connsiteY0" fmla="*/ 0 h 530225"/>
              <a:gd name="connsiteX1" fmla="*/ 1088347 w 1088347"/>
              <a:gd name="connsiteY1" fmla="*/ 0 h 530225"/>
              <a:gd name="connsiteX2" fmla="*/ 1088347 w 1088347"/>
              <a:gd name="connsiteY2" fmla="*/ 530225 h 530225"/>
              <a:gd name="connsiteX3" fmla="*/ 0 w 1088347"/>
              <a:gd name="connsiteY3" fmla="*/ 530225 h 530225"/>
              <a:gd name="connsiteX4" fmla="*/ 0 w 1088347"/>
              <a:gd name="connsiteY4" fmla="*/ 0 h 530225"/>
              <a:gd name="connsiteX0" fmla="*/ 0 w 1088347"/>
              <a:gd name="connsiteY0" fmla="*/ 92075 h 622300"/>
              <a:gd name="connsiteX1" fmla="*/ 916897 w 1088347"/>
              <a:gd name="connsiteY1" fmla="*/ 0 h 622300"/>
              <a:gd name="connsiteX2" fmla="*/ 1088347 w 1088347"/>
              <a:gd name="connsiteY2" fmla="*/ 622300 h 622300"/>
              <a:gd name="connsiteX3" fmla="*/ 0 w 1088347"/>
              <a:gd name="connsiteY3" fmla="*/ 622300 h 622300"/>
              <a:gd name="connsiteX4" fmla="*/ 0 w 1088347"/>
              <a:gd name="connsiteY4" fmla="*/ 92075 h 622300"/>
              <a:gd name="connsiteX0" fmla="*/ 0 w 1275672"/>
              <a:gd name="connsiteY0" fmla="*/ 92075 h 622300"/>
              <a:gd name="connsiteX1" fmla="*/ 916897 w 1275672"/>
              <a:gd name="connsiteY1" fmla="*/ 0 h 622300"/>
              <a:gd name="connsiteX2" fmla="*/ 1275672 w 1275672"/>
              <a:gd name="connsiteY2" fmla="*/ 441325 h 622300"/>
              <a:gd name="connsiteX3" fmla="*/ 0 w 1275672"/>
              <a:gd name="connsiteY3" fmla="*/ 622300 h 622300"/>
              <a:gd name="connsiteX4" fmla="*/ 0 w 1275672"/>
              <a:gd name="connsiteY4" fmla="*/ 92075 h 622300"/>
              <a:gd name="connsiteX0" fmla="*/ 41275 w 1316947"/>
              <a:gd name="connsiteY0" fmla="*/ 9207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41275 w 1316947"/>
              <a:gd name="connsiteY4" fmla="*/ 92075 h 669925"/>
              <a:gd name="connsiteX0" fmla="*/ 22225 w 1316947"/>
              <a:gd name="connsiteY0" fmla="*/ 120650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22225 w 1316947"/>
              <a:gd name="connsiteY4" fmla="*/ 120650 h 669925"/>
              <a:gd name="connsiteX0" fmla="*/ 15875 w 1316947"/>
              <a:gd name="connsiteY0" fmla="*/ 111125 h 669925"/>
              <a:gd name="connsiteX1" fmla="*/ 958172 w 1316947"/>
              <a:gd name="connsiteY1" fmla="*/ 0 h 669925"/>
              <a:gd name="connsiteX2" fmla="*/ 1316947 w 1316947"/>
              <a:gd name="connsiteY2" fmla="*/ 441325 h 669925"/>
              <a:gd name="connsiteX3" fmla="*/ 0 w 1316947"/>
              <a:gd name="connsiteY3" fmla="*/ 669925 h 669925"/>
              <a:gd name="connsiteX4" fmla="*/ 15875 w 1316947"/>
              <a:gd name="connsiteY4" fmla="*/ 111125 h 669925"/>
              <a:gd name="connsiteX0" fmla="*/ 15875 w 1316947"/>
              <a:gd name="connsiteY0" fmla="*/ 10795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15875 w 1316947"/>
              <a:gd name="connsiteY4" fmla="*/ 107950 h 666750"/>
              <a:gd name="connsiteX0" fmla="*/ 3175 w 1316947"/>
              <a:gd name="connsiteY0" fmla="*/ 114300 h 666750"/>
              <a:gd name="connsiteX1" fmla="*/ 964522 w 1316947"/>
              <a:gd name="connsiteY1" fmla="*/ 0 h 666750"/>
              <a:gd name="connsiteX2" fmla="*/ 1316947 w 1316947"/>
              <a:gd name="connsiteY2" fmla="*/ 438150 h 666750"/>
              <a:gd name="connsiteX3" fmla="*/ 0 w 1316947"/>
              <a:gd name="connsiteY3" fmla="*/ 666750 h 666750"/>
              <a:gd name="connsiteX4" fmla="*/ 3175 w 1316947"/>
              <a:gd name="connsiteY4" fmla="*/ 114300 h 666750"/>
              <a:gd name="connsiteX0" fmla="*/ 3175 w 1316947"/>
              <a:gd name="connsiteY0" fmla="*/ 139700 h 692150"/>
              <a:gd name="connsiteX1" fmla="*/ 817351 w 1316947"/>
              <a:gd name="connsiteY1" fmla="*/ 0 h 692150"/>
              <a:gd name="connsiteX2" fmla="*/ 1316947 w 1316947"/>
              <a:gd name="connsiteY2" fmla="*/ 463550 h 692150"/>
              <a:gd name="connsiteX3" fmla="*/ 0 w 1316947"/>
              <a:gd name="connsiteY3" fmla="*/ 692150 h 692150"/>
              <a:gd name="connsiteX4" fmla="*/ 3175 w 1316947"/>
              <a:gd name="connsiteY4" fmla="*/ 139700 h 692150"/>
              <a:gd name="connsiteX0" fmla="*/ 3175 w 840003"/>
              <a:gd name="connsiteY0" fmla="*/ 139700 h 692150"/>
              <a:gd name="connsiteX1" fmla="*/ 817351 w 840003"/>
              <a:gd name="connsiteY1" fmla="*/ 0 h 692150"/>
              <a:gd name="connsiteX2" fmla="*/ 840003 w 840003"/>
              <a:gd name="connsiteY2" fmla="*/ 368300 h 692150"/>
              <a:gd name="connsiteX3" fmla="*/ 0 w 840003"/>
              <a:gd name="connsiteY3" fmla="*/ 692150 h 692150"/>
              <a:gd name="connsiteX4" fmla="*/ 3175 w 840003"/>
              <a:gd name="connsiteY4" fmla="*/ 139700 h 692150"/>
              <a:gd name="connsiteX0" fmla="*/ 3175 w 1123444"/>
              <a:gd name="connsiteY0" fmla="*/ 139700 h 692150"/>
              <a:gd name="connsiteX1" fmla="*/ 817351 w 1123444"/>
              <a:gd name="connsiteY1" fmla="*/ 0 h 692150"/>
              <a:gd name="connsiteX2" fmla="*/ 1123444 w 1123444"/>
              <a:gd name="connsiteY2" fmla="*/ 428625 h 692150"/>
              <a:gd name="connsiteX3" fmla="*/ 0 w 1123444"/>
              <a:gd name="connsiteY3" fmla="*/ 692150 h 692150"/>
              <a:gd name="connsiteX4" fmla="*/ 3175 w 1123444"/>
              <a:gd name="connsiteY4" fmla="*/ 139700 h 69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3444" h="692150">
                <a:moveTo>
                  <a:pt x="3175" y="139700"/>
                </a:moveTo>
                <a:lnTo>
                  <a:pt x="817351" y="0"/>
                </a:lnTo>
                <a:lnTo>
                  <a:pt x="1123444" y="428625"/>
                </a:lnTo>
                <a:lnTo>
                  <a:pt x="0" y="692150"/>
                </a:lnTo>
                <a:cubicBezTo>
                  <a:pt x="1058" y="508000"/>
                  <a:pt x="2117" y="323850"/>
                  <a:pt x="3175" y="139700"/>
                </a:cubicBezTo>
                <a:close/>
              </a:path>
            </a:pathLst>
          </a:custGeom>
          <a:solidFill>
            <a:srgbClr val="A2D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Isosceles Triangle 3">
            <a:extLst>
              <a:ext uri="{FF2B5EF4-FFF2-40B4-BE49-F238E27FC236}">
                <a16:creationId xmlns:a16="http://schemas.microsoft.com/office/drawing/2014/main" id="{7C594736-A73B-7CF6-2325-8AF710C7FE01}"/>
              </a:ext>
            </a:extLst>
          </p:cNvPr>
          <p:cNvSpPr/>
          <p:nvPr/>
        </p:nvSpPr>
        <p:spPr>
          <a:xfrm>
            <a:off x="2228207" y="1854063"/>
            <a:ext cx="915074" cy="1247614"/>
          </a:xfrm>
          <a:custGeom>
            <a:avLst/>
            <a:gdLst>
              <a:gd name="connsiteX0" fmla="*/ 0 w 697570"/>
              <a:gd name="connsiteY0" fmla="*/ 1163782 h 1163782"/>
              <a:gd name="connsiteX1" fmla="*/ 348785 w 697570"/>
              <a:gd name="connsiteY1" fmla="*/ 0 h 1163782"/>
              <a:gd name="connsiteX2" fmla="*/ 697570 w 697570"/>
              <a:gd name="connsiteY2" fmla="*/ 1163782 h 1163782"/>
              <a:gd name="connsiteX3" fmla="*/ 0 w 697570"/>
              <a:gd name="connsiteY3" fmla="*/ 1163782 h 1163782"/>
              <a:gd name="connsiteX0" fmla="*/ 0 w 863824"/>
              <a:gd name="connsiteY0" fmla="*/ 1151907 h 1163782"/>
              <a:gd name="connsiteX1" fmla="*/ 515039 w 863824"/>
              <a:gd name="connsiteY1" fmla="*/ 0 h 1163782"/>
              <a:gd name="connsiteX2" fmla="*/ 863824 w 863824"/>
              <a:gd name="connsiteY2" fmla="*/ 1163782 h 1163782"/>
              <a:gd name="connsiteX3" fmla="*/ 0 w 863824"/>
              <a:gd name="connsiteY3" fmla="*/ 1151907 h 1163782"/>
              <a:gd name="connsiteX0" fmla="*/ 0 w 911325"/>
              <a:gd name="connsiteY0" fmla="*/ 1151907 h 1258785"/>
              <a:gd name="connsiteX1" fmla="*/ 515039 w 911325"/>
              <a:gd name="connsiteY1" fmla="*/ 0 h 1258785"/>
              <a:gd name="connsiteX2" fmla="*/ 911325 w 911325"/>
              <a:gd name="connsiteY2" fmla="*/ 1258785 h 1258785"/>
              <a:gd name="connsiteX3" fmla="*/ 0 w 911325"/>
              <a:gd name="connsiteY3" fmla="*/ 1151907 h 1258785"/>
              <a:gd name="connsiteX0" fmla="*/ 0 w 911325"/>
              <a:gd name="connsiteY0" fmla="*/ 1140031 h 1246909"/>
              <a:gd name="connsiteX1" fmla="*/ 871298 w 911325"/>
              <a:gd name="connsiteY1" fmla="*/ 0 h 1246909"/>
              <a:gd name="connsiteX2" fmla="*/ 911325 w 911325"/>
              <a:gd name="connsiteY2" fmla="*/ 1246909 h 1246909"/>
              <a:gd name="connsiteX3" fmla="*/ 0 w 911325"/>
              <a:gd name="connsiteY3" fmla="*/ 1140031 h 1246909"/>
              <a:gd name="connsiteX0" fmla="*/ 0 w 943131"/>
              <a:gd name="connsiteY0" fmla="*/ 1124128 h 1246909"/>
              <a:gd name="connsiteX1" fmla="*/ 903104 w 943131"/>
              <a:gd name="connsiteY1" fmla="*/ 0 h 1246909"/>
              <a:gd name="connsiteX2" fmla="*/ 943131 w 943131"/>
              <a:gd name="connsiteY2" fmla="*/ 1246909 h 1246909"/>
              <a:gd name="connsiteX3" fmla="*/ 0 w 943131"/>
              <a:gd name="connsiteY3" fmla="*/ 1124128 h 1246909"/>
              <a:gd name="connsiteX0" fmla="*/ 0 w 914556"/>
              <a:gd name="connsiteY0" fmla="*/ 1124128 h 1246909"/>
              <a:gd name="connsiteX1" fmla="*/ 903104 w 914556"/>
              <a:gd name="connsiteY1" fmla="*/ 0 h 1246909"/>
              <a:gd name="connsiteX2" fmla="*/ 914556 w 914556"/>
              <a:gd name="connsiteY2" fmla="*/ 1246909 h 1246909"/>
              <a:gd name="connsiteX3" fmla="*/ 0 w 914556"/>
              <a:gd name="connsiteY3" fmla="*/ 1124128 h 124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556" h="1246909">
                <a:moveTo>
                  <a:pt x="0" y="1124128"/>
                </a:moveTo>
                <a:lnTo>
                  <a:pt x="903104" y="0"/>
                </a:lnTo>
                <a:lnTo>
                  <a:pt x="914556" y="1246909"/>
                </a:lnTo>
                <a:lnTo>
                  <a:pt x="0" y="112412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Isosceles Triangle 3">
            <a:extLst>
              <a:ext uri="{FF2B5EF4-FFF2-40B4-BE49-F238E27FC236}">
                <a16:creationId xmlns:a16="http://schemas.microsoft.com/office/drawing/2014/main" id="{A977A29A-358A-B6C6-ED6F-C10EB15E0BCB}"/>
              </a:ext>
            </a:extLst>
          </p:cNvPr>
          <p:cNvSpPr/>
          <p:nvPr/>
        </p:nvSpPr>
        <p:spPr>
          <a:xfrm>
            <a:off x="3130640" y="1860617"/>
            <a:ext cx="954884" cy="1237664"/>
          </a:xfrm>
          <a:custGeom>
            <a:avLst/>
            <a:gdLst>
              <a:gd name="connsiteX0" fmla="*/ 0 w 697570"/>
              <a:gd name="connsiteY0" fmla="*/ 1163782 h 1163782"/>
              <a:gd name="connsiteX1" fmla="*/ 348785 w 697570"/>
              <a:gd name="connsiteY1" fmla="*/ 0 h 1163782"/>
              <a:gd name="connsiteX2" fmla="*/ 697570 w 697570"/>
              <a:gd name="connsiteY2" fmla="*/ 1163782 h 1163782"/>
              <a:gd name="connsiteX3" fmla="*/ 0 w 697570"/>
              <a:gd name="connsiteY3" fmla="*/ 1163782 h 1163782"/>
              <a:gd name="connsiteX0" fmla="*/ 0 w 863824"/>
              <a:gd name="connsiteY0" fmla="*/ 1151907 h 1163782"/>
              <a:gd name="connsiteX1" fmla="*/ 515039 w 863824"/>
              <a:gd name="connsiteY1" fmla="*/ 0 h 1163782"/>
              <a:gd name="connsiteX2" fmla="*/ 863824 w 863824"/>
              <a:gd name="connsiteY2" fmla="*/ 1163782 h 1163782"/>
              <a:gd name="connsiteX3" fmla="*/ 0 w 863824"/>
              <a:gd name="connsiteY3" fmla="*/ 1151907 h 1163782"/>
              <a:gd name="connsiteX0" fmla="*/ 0 w 911325"/>
              <a:gd name="connsiteY0" fmla="*/ 1151907 h 1258785"/>
              <a:gd name="connsiteX1" fmla="*/ 515039 w 911325"/>
              <a:gd name="connsiteY1" fmla="*/ 0 h 1258785"/>
              <a:gd name="connsiteX2" fmla="*/ 911325 w 911325"/>
              <a:gd name="connsiteY2" fmla="*/ 1258785 h 1258785"/>
              <a:gd name="connsiteX3" fmla="*/ 0 w 911325"/>
              <a:gd name="connsiteY3" fmla="*/ 1151907 h 1258785"/>
              <a:gd name="connsiteX0" fmla="*/ 0 w 911325"/>
              <a:gd name="connsiteY0" fmla="*/ 1140031 h 1246909"/>
              <a:gd name="connsiteX1" fmla="*/ 871298 w 911325"/>
              <a:gd name="connsiteY1" fmla="*/ 0 h 1246909"/>
              <a:gd name="connsiteX2" fmla="*/ 911325 w 911325"/>
              <a:gd name="connsiteY2" fmla="*/ 1246909 h 1246909"/>
              <a:gd name="connsiteX3" fmla="*/ 0 w 911325"/>
              <a:gd name="connsiteY3" fmla="*/ 1140031 h 1246909"/>
              <a:gd name="connsiteX0" fmla="*/ 0 w 943131"/>
              <a:gd name="connsiteY0" fmla="*/ 1124128 h 1246909"/>
              <a:gd name="connsiteX1" fmla="*/ 903104 w 943131"/>
              <a:gd name="connsiteY1" fmla="*/ 0 h 1246909"/>
              <a:gd name="connsiteX2" fmla="*/ 943131 w 943131"/>
              <a:gd name="connsiteY2" fmla="*/ 1246909 h 1246909"/>
              <a:gd name="connsiteX3" fmla="*/ 0 w 943131"/>
              <a:gd name="connsiteY3" fmla="*/ 1124128 h 1246909"/>
              <a:gd name="connsiteX0" fmla="*/ 146468 w 1089599"/>
              <a:gd name="connsiteY0" fmla="*/ 1307008 h 1429789"/>
              <a:gd name="connsiteX1" fmla="*/ 0 w 1089599"/>
              <a:gd name="connsiteY1" fmla="*/ 0 h 1429789"/>
              <a:gd name="connsiteX2" fmla="*/ 1089599 w 1089599"/>
              <a:gd name="connsiteY2" fmla="*/ 1429789 h 1429789"/>
              <a:gd name="connsiteX3" fmla="*/ 146468 w 1089599"/>
              <a:gd name="connsiteY3" fmla="*/ 1307008 h 1429789"/>
              <a:gd name="connsiteX0" fmla="*/ 11295 w 1089599"/>
              <a:gd name="connsiteY0" fmla="*/ 1195690 h 1429789"/>
              <a:gd name="connsiteX1" fmla="*/ 0 w 1089599"/>
              <a:gd name="connsiteY1" fmla="*/ 0 h 1429789"/>
              <a:gd name="connsiteX2" fmla="*/ 1089599 w 1089599"/>
              <a:gd name="connsiteY2" fmla="*/ 1429789 h 1429789"/>
              <a:gd name="connsiteX3" fmla="*/ 11295 w 1089599"/>
              <a:gd name="connsiteY3" fmla="*/ 1195690 h 1429789"/>
              <a:gd name="connsiteX0" fmla="*/ 11295 w 906719"/>
              <a:gd name="connsiteY0" fmla="*/ 1195690 h 1195690"/>
              <a:gd name="connsiteX1" fmla="*/ 0 w 906719"/>
              <a:gd name="connsiteY1" fmla="*/ 0 h 1195690"/>
              <a:gd name="connsiteX2" fmla="*/ 906719 w 906719"/>
              <a:gd name="connsiteY2" fmla="*/ 1103785 h 1195690"/>
              <a:gd name="connsiteX3" fmla="*/ 11295 w 906719"/>
              <a:gd name="connsiteY3" fmla="*/ 1195690 h 1195690"/>
              <a:gd name="connsiteX0" fmla="*/ 106545 w 906719"/>
              <a:gd name="connsiteY0" fmla="*/ 1208390 h 1208390"/>
              <a:gd name="connsiteX1" fmla="*/ 0 w 906719"/>
              <a:gd name="connsiteY1" fmla="*/ 0 h 1208390"/>
              <a:gd name="connsiteX2" fmla="*/ 906719 w 906719"/>
              <a:gd name="connsiteY2" fmla="*/ 1103785 h 1208390"/>
              <a:gd name="connsiteX3" fmla="*/ 106545 w 906719"/>
              <a:gd name="connsiteY3" fmla="*/ 1208390 h 1208390"/>
              <a:gd name="connsiteX0" fmla="*/ 17645 w 906719"/>
              <a:gd name="connsiteY0" fmla="*/ 1214740 h 1214740"/>
              <a:gd name="connsiteX1" fmla="*/ 0 w 906719"/>
              <a:gd name="connsiteY1" fmla="*/ 0 h 1214740"/>
              <a:gd name="connsiteX2" fmla="*/ 906719 w 906719"/>
              <a:gd name="connsiteY2" fmla="*/ 1103785 h 1214740"/>
              <a:gd name="connsiteX3" fmla="*/ 17645 w 906719"/>
              <a:gd name="connsiteY3" fmla="*/ 1214740 h 1214740"/>
              <a:gd name="connsiteX0" fmla="*/ 17645 w 938469"/>
              <a:gd name="connsiteY0" fmla="*/ 1214740 h 1214740"/>
              <a:gd name="connsiteX1" fmla="*/ 0 w 938469"/>
              <a:gd name="connsiteY1" fmla="*/ 0 h 1214740"/>
              <a:gd name="connsiteX2" fmla="*/ 938469 w 938469"/>
              <a:gd name="connsiteY2" fmla="*/ 1129185 h 1214740"/>
              <a:gd name="connsiteX3" fmla="*/ 17645 w 938469"/>
              <a:gd name="connsiteY3" fmla="*/ 1214740 h 1214740"/>
              <a:gd name="connsiteX0" fmla="*/ 36695 w 957519"/>
              <a:gd name="connsiteY0" fmla="*/ 1227440 h 1227440"/>
              <a:gd name="connsiteX1" fmla="*/ 0 w 957519"/>
              <a:gd name="connsiteY1" fmla="*/ 0 h 1227440"/>
              <a:gd name="connsiteX2" fmla="*/ 957519 w 957519"/>
              <a:gd name="connsiteY2" fmla="*/ 1141885 h 1227440"/>
              <a:gd name="connsiteX3" fmla="*/ 36695 w 957519"/>
              <a:gd name="connsiteY3" fmla="*/ 1227440 h 1227440"/>
              <a:gd name="connsiteX0" fmla="*/ 306570 w 957519"/>
              <a:gd name="connsiteY0" fmla="*/ 1081390 h 1141885"/>
              <a:gd name="connsiteX1" fmla="*/ 0 w 957519"/>
              <a:gd name="connsiteY1" fmla="*/ 0 h 1141885"/>
              <a:gd name="connsiteX2" fmla="*/ 957519 w 957519"/>
              <a:gd name="connsiteY2" fmla="*/ 1141885 h 1141885"/>
              <a:gd name="connsiteX3" fmla="*/ 306570 w 957519"/>
              <a:gd name="connsiteY3" fmla="*/ 1081390 h 1141885"/>
              <a:gd name="connsiteX0" fmla="*/ 39870 w 957519"/>
              <a:gd name="connsiteY0" fmla="*/ 1236965 h 1236965"/>
              <a:gd name="connsiteX1" fmla="*/ 0 w 957519"/>
              <a:gd name="connsiteY1" fmla="*/ 0 h 1236965"/>
              <a:gd name="connsiteX2" fmla="*/ 957519 w 957519"/>
              <a:gd name="connsiteY2" fmla="*/ 1141885 h 1236965"/>
              <a:gd name="connsiteX3" fmla="*/ 39870 w 957519"/>
              <a:gd name="connsiteY3" fmla="*/ 1236965 h 1236965"/>
              <a:gd name="connsiteX0" fmla="*/ 0 w 917649"/>
              <a:gd name="connsiteY0" fmla="*/ 1214740 h 1214740"/>
              <a:gd name="connsiteX1" fmla="*/ 398280 w 917649"/>
              <a:gd name="connsiteY1" fmla="*/ 0 h 1214740"/>
              <a:gd name="connsiteX2" fmla="*/ 917649 w 917649"/>
              <a:gd name="connsiteY2" fmla="*/ 1119660 h 1214740"/>
              <a:gd name="connsiteX3" fmla="*/ 0 w 917649"/>
              <a:gd name="connsiteY3" fmla="*/ 1214740 h 1214740"/>
              <a:gd name="connsiteX0" fmla="*/ 0 w 917649"/>
              <a:gd name="connsiteY0" fmla="*/ 973440 h 973440"/>
              <a:gd name="connsiteX1" fmla="*/ 77605 w 917649"/>
              <a:gd name="connsiteY1" fmla="*/ 0 h 973440"/>
              <a:gd name="connsiteX2" fmla="*/ 917649 w 917649"/>
              <a:gd name="connsiteY2" fmla="*/ 878360 h 973440"/>
              <a:gd name="connsiteX3" fmla="*/ 0 w 917649"/>
              <a:gd name="connsiteY3" fmla="*/ 973440 h 973440"/>
              <a:gd name="connsiteX0" fmla="*/ 36695 w 954344"/>
              <a:gd name="connsiteY0" fmla="*/ 1240140 h 1240140"/>
              <a:gd name="connsiteX1" fmla="*/ 0 w 954344"/>
              <a:gd name="connsiteY1" fmla="*/ 0 h 1240140"/>
              <a:gd name="connsiteX2" fmla="*/ 954344 w 954344"/>
              <a:gd name="connsiteY2" fmla="*/ 1145060 h 1240140"/>
              <a:gd name="connsiteX3" fmla="*/ 36695 w 954344"/>
              <a:gd name="connsiteY3" fmla="*/ 1240140 h 1240140"/>
              <a:gd name="connsiteX0" fmla="*/ 8120 w 954344"/>
              <a:gd name="connsiteY0" fmla="*/ 1236965 h 1236965"/>
              <a:gd name="connsiteX1" fmla="*/ 0 w 954344"/>
              <a:gd name="connsiteY1" fmla="*/ 0 h 1236965"/>
              <a:gd name="connsiteX2" fmla="*/ 954344 w 954344"/>
              <a:gd name="connsiteY2" fmla="*/ 1145060 h 1236965"/>
              <a:gd name="connsiteX3" fmla="*/ 8120 w 954344"/>
              <a:gd name="connsiteY3" fmla="*/ 1236965 h 123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4344" h="1236965">
                <a:moveTo>
                  <a:pt x="8120" y="1236965"/>
                </a:moveTo>
                <a:cubicBezTo>
                  <a:pt x="5413" y="824643"/>
                  <a:pt x="2707" y="412322"/>
                  <a:pt x="0" y="0"/>
                </a:cubicBezTo>
                <a:lnTo>
                  <a:pt x="954344" y="1145060"/>
                </a:lnTo>
                <a:lnTo>
                  <a:pt x="8120" y="1236965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C1C72D1-6F76-6E19-4B3C-403A39EA1D7C}"/>
              </a:ext>
            </a:extLst>
          </p:cNvPr>
          <p:cNvSpPr txBox="1"/>
          <p:nvPr/>
        </p:nvSpPr>
        <p:spPr>
          <a:xfrm>
            <a:off x="6096000" y="1742656"/>
            <a:ext cx="5541260" cy="645424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756BFFC-469F-E326-B589-71F4747680BD}"/>
              </a:ext>
            </a:extLst>
          </p:cNvPr>
          <p:cNvSpPr txBox="1"/>
          <p:nvPr/>
        </p:nvSpPr>
        <p:spPr>
          <a:xfrm>
            <a:off x="6096000" y="2655706"/>
            <a:ext cx="5541260" cy="645424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D63420-B2D9-426D-42D4-174F95832B3C}"/>
              </a:ext>
            </a:extLst>
          </p:cNvPr>
          <p:cNvSpPr txBox="1"/>
          <p:nvPr/>
        </p:nvSpPr>
        <p:spPr>
          <a:xfrm>
            <a:off x="6096000" y="3568756"/>
            <a:ext cx="5541260" cy="645424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60941C-9F73-48CB-D440-AEC4FBBA967B}"/>
              </a:ext>
            </a:extLst>
          </p:cNvPr>
          <p:cNvSpPr txBox="1"/>
          <p:nvPr/>
        </p:nvSpPr>
        <p:spPr>
          <a:xfrm>
            <a:off x="6096000" y="4481806"/>
            <a:ext cx="5541260" cy="645424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852E85-437E-1F0A-9BBB-D77211F4DE93}"/>
              </a:ext>
            </a:extLst>
          </p:cNvPr>
          <p:cNvSpPr txBox="1"/>
          <p:nvPr/>
        </p:nvSpPr>
        <p:spPr>
          <a:xfrm>
            <a:off x="6096000" y="5394856"/>
            <a:ext cx="5541260" cy="645424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565F852-CD1C-C557-743C-F09C780CC53B}"/>
              </a:ext>
            </a:extLst>
          </p:cNvPr>
          <p:cNvSpPr txBox="1"/>
          <p:nvPr/>
        </p:nvSpPr>
        <p:spPr>
          <a:xfrm>
            <a:off x="2545010" y="2404951"/>
            <a:ext cx="620398" cy="50629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E8BAB0A-C5C9-8BE8-E1AC-4362F4E4F335}"/>
              </a:ext>
            </a:extLst>
          </p:cNvPr>
          <p:cNvSpPr txBox="1"/>
          <p:nvPr/>
        </p:nvSpPr>
        <p:spPr>
          <a:xfrm>
            <a:off x="2120789" y="2958820"/>
            <a:ext cx="620398" cy="50629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5DD7A7A-1DE0-65E8-18F4-93E2A3F3E947}"/>
              </a:ext>
            </a:extLst>
          </p:cNvPr>
          <p:cNvSpPr txBox="1"/>
          <p:nvPr/>
        </p:nvSpPr>
        <p:spPr>
          <a:xfrm>
            <a:off x="1696567" y="3512689"/>
            <a:ext cx="620398" cy="50629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3E99F72-FA0D-6D02-D77A-96D7FF0EBA70}"/>
              </a:ext>
            </a:extLst>
          </p:cNvPr>
          <p:cNvSpPr txBox="1"/>
          <p:nvPr/>
        </p:nvSpPr>
        <p:spPr>
          <a:xfrm>
            <a:off x="1272345" y="4066558"/>
            <a:ext cx="620398" cy="50629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80BDA9-481D-F1CB-2562-DE63313B8CB5}"/>
              </a:ext>
            </a:extLst>
          </p:cNvPr>
          <p:cNvSpPr txBox="1"/>
          <p:nvPr/>
        </p:nvSpPr>
        <p:spPr>
          <a:xfrm>
            <a:off x="848123" y="4620427"/>
            <a:ext cx="620398" cy="50629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A85A21-B4D4-8922-B546-894BFD9F145D}"/>
              </a:ext>
            </a:extLst>
          </p:cNvPr>
          <p:cNvSpPr txBox="1"/>
          <p:nvPr/>
        </p:nvSpPr>
        <p:spPr>
          <a:xfrm>
            <a:off x="5786950" y="1598556"/>
            <a:ext cx="322300" cy="58907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CF677F9-A1D9-124B-9F2E-FA8AF5E518FE}"/>
              </a:ext>
            </a:extLst>
          </p:cNvPr>
          <p:cNvSpPr txBox="1"/>
          <p:nvPr/>
        </p:nvSpPr>
        <p:spPr>
          <a:xfrm>
            <a:off x="5786950" y="2511606"/>
            <a:ext cx="322300" cy="58907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9AAA262-F918-DEC8-91B3-0C1EC4236102}"/>
              </a:ext>
            </a:extLst>
          </p:cNvPr>
          <p:cNvSpPr txBox="1"/>
          <p:nvPr/>
        </p:nvSpPr>
        <p:spPr>
          <a:xfrm>
            <a:off x="5786950" y="3424656"/>
            <a:ext cx="322300" cy="58907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12024B9-46B6-F37C-F930-C7F83E3F6AE5}"/>
              </a:ext>
            </a:extLst>
          </p:cNvPr>
          <p:cNvSpPr txBox="1"/>
          <p:nvPr/>
        </p:nvSpPr>
        <p:spPr>
          <a:xfrm>
            <a:off x="5786950" y="4337706"/>
            <a:ext cx="322300" cy="58907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00F8D7-C558-D90C-6F93-662AFC14104A}"/>
              </a:ext>
            </a:extLst>
          </p:cNvPr>
          <p:cNvSpPr txBox="1"/>
          <p:nvPr/>
        </p:nvSpPr>
        <p:spPr>
          <a:xfrm>
            <a:off x="5786950" y="5250756"/>
            <a:ext cx="322300" cy="58907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347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2_Office Theme">
  <a:themeElements>
    <a:clrScheme name="Custom 3">
      <a:dk1>
        <a:srgbClr val="80C7A7"/>
      </a:dk1>
      <a:lt1>
        <a:srgbClr val="FFFFFF"/>
      </a:lt1>
      <a:dk2>
        <a:srgbClr val="3F3F3F"/>
      </a:dk2>
      <a:lt2>
        <a:srgbClr val="000000"/>
      </a:lt2>
      <a:accent1>
        <a:srgbClr val="80C7A7"/>
      </a:accent1>
      <a:accent2>
        <a:srgbClr val="80C7A7"/>
      </a:accent2>
      <a:accent3>
        <a:srgbClr val="80C7A7"/>
      </a:accent3>
      <a:accent4>
        <a:srgbClr val="80C7A7"/>
      </a:accent4>
      <a:accent5>
        <a:srgbClr val="80C7A7"/>
      </a:accent5>
      <a:accent6>
        <a:srgbClr val="80C7A7"/>
      </a:accent6>
      <a:hlink>
        <a:srgbClr val="FFFFFF"/>
      </a:hlink>
      <a:folHlink>
        <a:srgbClr val="000000"/>
      </a:folHlink>
    </a:clrScheme>
    <a:fontScheme name="Modern 0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200" dirty="0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ct val="150000"/>
          </a:lnSpc>
          <a:defRPr sz="1200" dirty="0" smtClean="0">
            <a:solidFill>
              <a:schemeClr val="bg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4">
      <a:dk1>
        <a:srgbClr val="3F3F3F"/>
      </a:dk1>
      <a:lt1>
        <a:srgbClr val="FFFFFF"/>
      </a:lt1>
      <a:dk2>
        <a:srgbClr val="3F3F3F"/>
      </a:dk2>
      <a:lt2>
        <a:srgbClr val="E7E6E6"/>
      </a:lt2>
      <a:accent1>
        <a:srgbClr val="80C7A7"/>
      </a:accent1>
      <a:accent2>
        <a:srgbClr val="92667D"/>
      </a:accent2>
      <a:accent3>
        <a:srgbClr val="D17083"/>
      </a:accent3>
      <a:accent4>
        <a:srgbClr val="FF788B"/>
      </a:accent4>
      <a:accent5>
        <a:srgbClr val="3C5D7A"/>
      </a:accent5>
      <a:accent6>
        <a:srgbClr val="92667D"/>
      </a:accent6>
      <a:hlink>
        <a:srgbClr val="0563C1"/>
      </a:hlink>
      <a:folHlink>
        <a:srgbClr val="954F72"/>
      </a:folHlink>
    </a:clrScheme>
    <a:fontScheme name="Office">
      <a:majorFont>
        <a:latin typeface="Tahom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Tahom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13</TotalTime>
  <Words>390</Words>
  <Application>Microsoft Office PowerPoint</Application>
  <PresentationFormat>Widescreen</PresentationFormat>
  <Paragraphs>43</Paragraphs>
  <Slides>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Segoe UI</vt:lpstr>
      <vt:lpstr>Tahoma</vt:lpstr>
      <vt:lpstr>2_Office Theme</vt:lpstr>
      <vt:lpstr>3_Office Theme</vt:lpstr>
      <vt:lpstr>Enter Title Here</vt:lpstr>
      <vt:lpstr>Enter Title Here</vt:lpstr>
      <vt:lpstr>Enter Title He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 Title Here</dc:title>
  <dc:creator>Zainab Kassab</dc:creator>
  <cp:lastModifiedBy>Zainab Kassab</cp:lastModifiedBy>
  <cp:revision>111</cp:revision>
  <dcterms:created xsi:type="dcterms:W3CDTF">2022-10-25T11:11:06Z</dcterms:created>
  <dcterms:modified xsi:type="dcterms:W3CDTF">2023-03-08T11:35:29Z</dcterms:modified>
</cp:coreProperties>
</file>